
<file path=[Content_Types].xml><?xml version="1.0" encoding="utf-8"?>
<Types xmlns="http://schemas.openxmlformats.org/package/2006/content-types">
  <Default Extension="xml" ContentType="application/xml"/>
  <Default Extension="wmf" ContentType="image/x-wmf"/>
  <Default Extension="jpeg" ContentType="image/jpeg"/>
  <Default Extension="tiff" ContentType="image/tif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</p:sldMasterIdLst>
  <p:notesMasterIdLst>
    <p:notesMasterId r:id="rId40"/>
  </p:notesMasterIdLst>
  <p:sldIdLst>
    <p:sldId id="256" r:id="rId2"/>
    <p:sldId id="257" r:id="rId3"/>
    <p:sldId id="288" r:id="rId4"/>
    <p:sldId id="258" r:id="rId5"/>
    <p:sldId id="259" r:id="rId6"/>
    <p:sldId id="266" r:id="rId7"/>
    <p:sldId id="260" r:id="rId8"/>
    <p:sldId id="279" r:id="rId9"/>
    <p:sldId id="280" r:id="rId10"/>
    <p:sldId id="262" r:id="rId11"/>
    <p:sldId id="263" r:id="rId12"/>
    <p:sldId id="281" r:id="rId13"/>
    <p:sldId id="267" r:id="rId14"/>
    <p:sldId id="268" r:id="rId15"/>
    <p:sldId id="269" r:id="rId16"/>
    <p:sldId id="282" r:id="rId17"/>
    <p:sldId id="271" r:id="rId18"/>
    <p:sldId id="284" r:id="rId19"/>
    <p:sldId id="264" r:id="rId20"/>
    <p:sldId id="287" r:id="rId21"/>
    <p:sldId id="297" r:id="rId22"/>
    <p:sldId id="272" r:id="rId23"/>
    <p:sldId id="285" r:id="rId24"/>
    <p:sldId id="265" r:id="rId25"/>
    <p:sldId id="294" r:id="rId26"/>
    <p:sldId id="286" r:id="rId27"/>
    <p:sldId id="296" r:id="rId28"/>
    <p:sldId id="298" r:id="rId29"/>
    <p:sldId id="289" r:id="rId30"/>
    <p:sldId id="290" r:id="rId31"/>
    <p:sldId id="270" r:id="rId32"/>
    <p:sldId id="301" r:id="rId33"/>
    <p:sldId id="302" r:id="rId34"/>
    <p:sldId id="299" r:id="rId35"/>
    <p:sldId id="300" r:id="rId36"/>
    <p:sldId id="293" r:id="rId37"/>
    <p:sldId id="291" r:id="rId38"/>
    <p:sldId id="295" r:id="rId39"/>
  </p:sldIdLst>
  <p:sldSz cx="9144000" cy="6858000" type="screen4x3"/>
  <p:notesSz cx="7099300" cy="10234613"/>
  <p:defaultTextStyle>
    <a:defPPr>
      <a:defRPr lang="en-GB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6D4"/>
    <a:srgbClr val="0432FF"/>
    <a:srgbClr val="0096FF"/>
    <a:srgbClr val="942093"/>
    <a:srgbClr val="7A4A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923"/>
    <p:restoredTop sz="94751"/>
  </p:normalViewPr>
  <p:slideViewPr>
    <p:cSldViewPr>
      <p:cViewPr>
        <p:scale>
          <a:sx n="94" d="100"/>
          <a:sy n="94" d="100"/>
        </p:scale>
        <p:origin x="2720" y="73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2" d="100"/>
        <a:sy n="122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slide" Target="slides/slide38.xml"/><Relationship Id="rId40" Type="http://schemas.openxmlformats.org/officeDocument/2006/relationships/notesMaster" Target="notesMasters/notesMaster1.xml"/><Relationship Id="rId41" Type="http://schemas.openxmlformats.org/officeDocument/2006/relationships/presProps" Target="presProps.xml"/><Relationship Id="rId42" Type="http://schemas.openxmlformats.org/officeDocument/2006/relationships/viewProps" Target="viewProps.xml"/><Relationship Id="rId43" Type="http://schemas.openxmlformats.org/officeDocument/2006/relationships/theme" Target="theme/theme1.xml"/><Relationship Id="rId44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F37D4EB-57D2-804D-AB49-F241A71F6A02}" type="doc">
      <dgm:prSet loTypeId="urn:microsoft.com/office/officeart/2005/8/layout/StepDownProcess" loCatId="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GB"/>
        </a:p>
      </dgm:t>
    </dgm:pt>
    <dgm:pt modelId="{A6E6345E-B68D-AC40-819A-03C492AB2D48}">
      <dgm:prSet phldrT="[Text]"/>
      <dgm:spPr>
        <a:ln>
          <a:solidFill>
            <a:srgbClr val="7030A0"/>
          </a:solidFill>
        </a:ln>
      </dgm:spPr>
      <dgm:t>
        <a:bodyPr/>
        <a:lstStyle/>
        <a:p>
          <a:r>
            <a:rPr lang="en-GB" dirty="0" smtClean="0"/>
            <a:t>Admission</a:t>
          </a:r>
          <a:endParaRPr lang="en-GB" dirty="0"/>
        </a:p>
      </dgm:t>
    </dgm:pt>
    <dgm:pt modelId="{B8F4DB77-96BA-934A-B390-B590B68204E2}" type="parTrans" cxnId="{4733EC1C-0719-534A-A737-8ABB5F393AE1}">
      <dgm:prSet/>
      <dgm:spPr/>
      <dgm:t>
        <a:bodyPr/>
        <a:lstStyle/>
        <a:p>
          <a:endParaRPr lang="en-GB"/>
        </a:p>
      </dgm:t>
    </dgm:pt>
    <dgm:pt modelId="{E12CA100-C166-6241-BB90-51721BBDB07C}" type="sibTrans" cxnId="{4733EC1C-0719-534A-A737-8ABB5F393AE1}">
      <dgm:prSet/>
      <dgm:spPr/>
      <dgm:t>
        <a:bodyPr/>
        <a:lstStyle/>
        <a:p>
          <a:endParaRPr lang="en-GB"/>
        </a:p>
      </dgm:t>
    </dgm:pt>
    <dgm:pt modelId="{1E5B15D3-DAEC-C14E-976C-CAFBCA928049}">
      <dgm:prSet phldrT="[Text]" custT="1"/>
      <dgm:spPr/>
      <dgm:t>
        <a:bodyPr/>
        <a:lstStyle/>
        <a:p>
          <a:r>
            <a:rPr lang="en-GB" sz="2400" dirty="0" smtClean="0"/>
            <a:t>Medicines reconciliation</a:t>
          </a:r>
          <a:endParaRPr lang="en-GB" sz="2400" dirty="0"/>
        </a:p>
      </dgm:t>
    </dgm:pt>
    <dgm:pt modelId="{5647901F-7A1A-FB47-BCC6-68F791B28786}" type="parTrans" cxnId="{B8BCAA87-2724-784D-BCCE-9275833762A6}">
      <dgm:prSet/>
      <dgm:spPr/>
      <dgm:t>
        <a:bodyPr/>
        <a:lstStyle/>
        <a:p>
          <a:endParaRPr lang="en-GB"/>
        </a:p>
      </dgm:t>
    </dgm:pt>
    <dgm:pt modelId="{B2F920E3-8756-464E-8145-607939EDE9B0}" type="sibTrans" cxnId="{B8BCAA87-2724-784D-BCCE-9275833762A6}">
      <dgm:prSet/>
      <dgm:spPr/>
      <dgm:t>
        <a:bodyPr/>
        <a:lstStyle/>
        <a:p>
          <a:endParaRPr lang="en-GB"/>
        </a:p>
      </dgm:t>
    </dgm:pt>
    <dgm:pt modelId="{D55B87C9-C855-F94B-8560-6DD16B31A7D6}">
      <dgm:prSet phldrT="[Text]"/>
      <dgm:spPr>
        <a:ln>
          <a:solidFill>
            <a:srgbClr val="7030A0"/>
          </a:solidFill>
        </a:ln>
      </dgm:spPr>
      <dgm:t>
        <a:bodyPr/>
        <a:lstStyle/>
        <a:p>
          <a:r>
            <a:rPr lang="en-GB" dirty="0" smtClean="0"/>
            <a:t>Stay </a:t>
          </a:r>
          <a:endParaRPr lang="en-GB" dirty="0"/>
        </a:p>
      </dgm:t>
    </dgm:pt>
    <dgm:pt modelId="{DF74A6CE-D003-994A-977A-01120A36463B}" type="parTrans" cxnId="{B6EB53F9-9C67-6E43-A2BC-48A9D152172B}">
      <dgm:prSet/>
      <dgm:spPr/>
      <dgm:t>
        <a:bodyPr/>
        <a:lstStyle/>
        <a:p>
          <a:endParaRPr lang="en-GB"/>
        </a:p>
      </dgm:t>
    </dgm:pt>
    <dgm:pt modelId="{0F913F34-622F-7149-8CC0-EE33F1E685BF}" type="sibTrans" cxnId="{B6EB53F9-9C67-6E43-A2BC-48A9D152172B}">
      <dgm:prSet/>
      <dgm:spPr/>
      <dgm:t>
        <a:bodyPr/>
        <a:lstStyle/>
        <a:p>
          <a:endParaRPr lang="en-GB"/>
        </a:p>
      </dgm:t>
    </dgm:pt>
    <dgm:pt modelId="{DAB229BF-07DD-C046-AF2C-D8206F781528}">
      <dgm:prSet phldrT="[Text]" custT="1"/>
      <dgm:spPr/>
      <dgm:t>
        <a:bodyPr/>
        <a:lstStyle/>
        <a:p>
          <a:r>
            <a:rPr lang="en-GB" sz="2400" dirty="0" smtClean="0"/>
            <a:t>Medicines optimisation</a:t>
          </a:r>
          <a:endParaRPr lang="en-GB" sz="2400" dirty="0"/>
        </a:p>
      </dgm:t>
    </dgm:pt>
    <dgm:pt modelId="{A9DC410B-56F7-7144-808B-DE0D920EC42A}" type="parTrans" cxnId="{052789E6-1E0A-654F-AF4E-36050B4F10C1}">
      <dgm:prSet/>
      <dgm:spPr/>
      <dgm:t>
        <a:bodyPr/>
        <a:lstStyle/>
        <a:p>
          <a:endParaRPr lang="en-GB"/>
        </a:p>
      </dgm:t>
    </dgm:pt>
    <dgm:pt modelId="{EFDD6BAE-D813-8146-86C3-B8E4A48F6FB0}" type="sibTrans" cxnId="{052789E6-1E0A-654F-AF4E-36050B4F10C1}">
      <dgm:prSet/>
      <dgm:spPr/>
      <dgm:t>
        <a:bodyPr/>
        <a:lstStyle/>
        <a:p>
          <a:endParaRPr lang="en-GB"/>
        </a:p>
      </dgm:t>
    </dgm:pt>
    <dgm:pt modelId="{655D17D9-82EA-924E-B982-C2C5AAEEB4B8}">
      <dgm:prSet phldrT="[Text]"/>
      <dgm:spPr>
        <a:ln>
          <a:solidFill>
            <a:srgbClr val="7030A0"/>
          </a:solidFill>
        </a:ln>
      </dgm:spPr>
      <dgm:t>
        <a:bodyPr/>
        <a:lstStyle/>
        <a:p>
          <a:r>
            <a:rPr lang="en-GB" dirty="0" smtClean="0"/>
            <a:t>Discharge </a:t>
          </a:r>
          <a:endParaRPr lang="en-GB" dirty="0"/>
        </a:p>
      </dgm:t>
    </dgm:pt>
    <dgm:pt modelId="{080064AD-69A0-EE45-88E4-768AB61595A7}" type="parTrans" cxnId="{FB0C942D-ACD8-0748-9D42-CB45EBF23417}">
      <dgm:prSet/>
      <dgm:spPr/>
      <dgm:t>
        <a:bodyPr/>
        <a:lstStyle/>
        <a:p>
          <a:endParaRPr lang="en-GB"/>
        </a:p>
      </dgm:t>
    </dgm:pt>
    <dgm:pt modelId="{1EAC69CC-1DE8-A648-BFE4-2BB3265A2093}" type="sibTrans" cxnId="{FB0C942D-ACD8-0748-9D42-CB45EBF23417}">
      <dgm:prSet/>
      <dgm:spPr/>
      <dgm:t>
        <a:bodyPr/>
        <a:lstStyle/>
        <a:p>
          <a:endParaRPr lang="en-GB"/>
        </a:p>
      </dgm:t>
    </dgm:pt>
    <dgm:pt modelId="{310119BA-7FB4-8648-8DD8-150EDF661E16}">
      <dgm:prSet phldrT="[Text]" custT="1"/>
      <dgm:spPr/>
      <dgm:t>
        <a:bodyPr/>
        <a:lstStyle/>
        <a:p>
          <a:r>
            <a:rPr lang="en-GB" sz="2400" dirty="0" smtClean="0"/>
            <a:t>Medicines review</a:t>
          </a:r>
          <a:endParaRPr lang="en-GB" sz="2400" dirty="0"/>
        </a:p>
      </dgm:t>
    </dgm:pt>
    <dgm:pt modelId="{D49BDAF6-D96F-CF4D-985E-76D9D6453E0B}" type="parTrans" cxnId="{BE102E18-B648-584D-9D83-319D2ABFA9F2}">
      <dgm:prSet/>
      <dgm:spPr/>
      <dgm:t>
        <a:bodyPr/>
        <a:lstStyle/>
        <a:p>
          <a:endParaRPr lang="en-GB"/>
        </a:p>
      </dgm:t>
    </dgm:pt>
    <dgm:pt modelId="{5D5C8674-52FF-874C-AD8C-CEAD38849D39}" type="sibTrans" cxnId="{BE102E18-B648-584D-9D83-319D2ABFA9F2}">
      <dgm:prSet/>
      <dgm:spPr/>
      <dgm:t>
        <a:bodyPr/>
        <a:lstStyle/>
        <a:p>
          <a:endParaRPr lang="en-GB"/>
        </a:p>
      </dgm:t>
    </dgm:pt>
    <dgm:pt modelId="{1BAF1C97-C18E-F743-A71E-35BE0C2DCCE6}">
      <dgm:prSet phldrT="[Text]" custT="1"/>
      <dgm:spPr/>
      <dgm:t>
        <a:bodyPr/>
        <a:lstStyle/>
        <a:p>
          <a:r>
            <a:rPr lang="en-GB" sz="2400" dirty="0" smtClean="0"/>
            <a:t>Safety</a:t>
          </a:r>
          <a:endParaRPr lang="en-GB" sz="2400" dirty="0"/>
        </a:p>
      </dgm:t>
    </dgm:pt>
    <dgm:pt modelId="{F3D92550-6A19-A246-A1F6-EEE053CB57BF}" type="parTrans" cxnId="{25FAD260-309A-1D45-83B5-A1E4812C890F}">
      <dgm:prSet/>
      <dgm:spPr/>
      <dgm:t>
        <a:bodyPr/>
        <a:lstStyle/>
        <a:p>
          <a:endParaRPr lang="en-GB"/>
        </a:p>
      </dgm:t>
    </dgm:pt>
    <dgm:pt modelId="{7DE3F21C-AC92-0444-8F15-E9FBCEADD9E5}" type="sibTrans" cxnId="{25FAD260-309A-1D45-83B5-A1E4812C890F}">
      <dgm:prSet/>
      <dgm:spPr/>
      <dgm:t>
        <a:bodyPr/>
        <a:lstStyle/>
        <a:p>
          <a:endParaRPr lang="en-GB"/>
        </a:p>
      </dgm:t>
    </dgm:pt>
    <dgm:pt modelId="{640DB307-6680-9649-9467-354447C3044F}">
      <dgm:prSet phldrT="[Text]" custT="1"/>
      <dgm:spPr/>
      <dgm:t>
        <a:bodyPr/>
        <a:lstStyle/>
        <a:p>
          <a:r>
            <a:rPr lang="en-GB" sz="2400" dirty="0" smtClean="0"/>
            <a:t>Prescribing </a:t>
          </a:r>
          <a:endParaRPr lang="en-GB" sz="2400" dirty="0"/>
        </a:p>
      </dgm:t>
    </dgm:pt>
    <dgm:pt modelId="{9CE5E9EA-05A8-5742-8BA0-A73B48421A11}" type="parTrans" cxnId="{832DF937-DD8A-8744-AB7D-23188D75DC50}">
      <dgm:prSet/>
      <dgm:spPr/>
      <dgm:t>
        <a:bodyPr/>
        <a:lstStyle/>
        <a:p>
          <a:endParaRPr lang="en-GB"/>
        </a:p>
      </dgm:t>
    </dgm:pt>
    <dgm:pt modelId="{E31B3FE9-9927-F345-8E41-091745C592C3}" type="sibTrans" cxnId="{832DF937-DD8A-8744-AB7D-23188D75DC50}">
      <dgm:prSet/>
      <dgm:spPr/>
      <dgm:t>
        <a:bodyPr/>
        <a:lstStyle/>
        <a:p>
          <a:endParaRPr lang="en-GB"/>
        </a:p>
      </dgm:t>
    </dgm:pt>
    <dgm:pt modelId="{82FF3524-5611-E244-B99B-0A3B75E754A9}" type="pres">
      <dgm:prSet presAssocID="{1F37D4EB-57D2-804D-AB49-F241A71F6A02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en-GB"/>
        </a:p>
      </dgm:t>
    </dgm:pt>
    <dgm:pt modelId="{27E6662A-B17C-B841-8283-38135AC8EDE2}" type="pres">
      <dgm:prSet presAssocID="{A6E6345E-B68D-AC40-819A-03C492AB2D48}" presName="composite" presStyleCnt="0"/>
      <dgm:spPr/>
    </dgm:pt>
    <dgm:pt modelId="{8169CC8C-92E9-5149-96DF-DFD3744A3443}" type="pres">
      <dgm:prSet presAssocID="{A6E6345E-B68D-AC40-819A-03C492AB2D48}" presName="bentUpArrow1" presStyleLbl="alignImgPlace1" presStyleIdx="0" presStyleCnt="2"/>
      <dgm:spPr>
        <a:ln>
          <a:solidFill>
            <a:srgbClr val="7030A0"/>
          </a:solidFill>
        </a:ln>
      </dgm:spPr>
    </dgm:pt>
    <dgm:pt modelId="{9AC562C3-E8A2-8B42-A9D7-3BB9DBFEBBDF}" type="pres">
      <dgm:prSet presAssocID="{A6E6345E-B68D-AC40-819A-03C492AB2D48}" presName="ParentText" presStyleLbl="node1" presStyleIdx="0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C936F26-E59C-4B48-B7B6-2FDF242AF599}" type="pres">
      <dgm:prSet presAssocID="{A6E6345E-B68D-AC40-819A-03C492AB2D48}" presName="ChildText" presStyleLbl="revTx" presStyleIdx="0" presStyleCnt="3" custScaleX="288258" custLinFactNeighborX="93370" custLinFactNeighborY="113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DAA1199-979D-154E-B52E-C5D45550FD45}" type="pres">
      <dgm:prSet presAssocID="{E12CA100-C166-6241-BB90-51721BBDB07C}" presName="sibTrans" presStyleCnt="0"/>
      <dgm:spPr/>
    </dgm:pt>
    <dgm:pt modelId="{FF720D5C-985A-D946-8851-143F7B66B219}" type="pres">
      <dgm:prSet presAssocID="{D55B87C9-C855-F94B-8560-6DD16B31A7D6}" presName="composite" presStyleCnt="0"/>
      <dgm:spPr/>
    </dgm:pt>
    <dgm:pt modelId="{E51ECFA0-AD87-9B40-91CF-A964B9AE887D}" type="pres">
      <dgm:prSet presAssocID="{D55B87C9-C855-F94B-8560-6DD16B31A7D6}" presName="bentUpArrow1" presStyleLbl="alignImgPlace1" presStyleIdx="1" presStyleCnt="2"/>
      <dgm:spPr>
        <a:ln>
          <a:solidFill>
            <a:srgbClr val="7030A0"/>
          </a:solidFill>
        </a:ln>
      </dgm:spPr>
    </dgm:pt>
    <dgm:pt modelId="{596743A4-C2A0-314B-9AE5-AF1FE3BB310E}" type="pres">
      <dgm:prSet presAssocID="{D55B87C9-C855-F94B-8560-6DD16B31A7D6}" presName="ParentText" presStyleLbl="node1" presStyleIdx="1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B80B5AC4-7DDE-7C49-9B18-89FB90561642}" type="pres">
      <dgm:prSet presAssocID="{D55B87C9-C855-F94B-8560-6DD16B31A7D6}" presName="ChildText" presStyleLbl="revTx" presStyleIdx="1" presStyleCnt="3" custScaleX="280023" custScaleY="140850" custLinFactX="2740" custLinFactNeighborX="100000" custLinFactNeighborY="419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AE7C7969-B4C0-6D4F-A12C-DE8D20F823C9}" type="pres">
      <dgm:prSet presAssocID="{0F913F34-622F-7149-8CC0-EE33F1E685BF}" presName="sibTrans" presStyleCnt="0"/>
      <dgm:spPr/>
    </dgm:pt>
    <dgm:pt modelId="{70F97E5C-742E-3541-8AAA-56140EF1CBB3}" type="pres">
      <dgm:prSet presAssocID="{655D17D9-82EA-924E-B982-C2C5AAEEB4B8}" presName="composite" presStyleCnt="0"/>
      <dgm:spPr/>
    </dgm:pt>
    <dgm:pt modelId="{4420A943-739B-3446-83CF-4CC9150554EF}" type="pres">
      <dgm:prSet presAssocID="{655D17D9-82EA-924E-B982-C2C5AAEEB4B8}" presName="ParentText" presStyleLbl="node1" presStyleIdx="2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3BD71708-21AD-D649-83DC-5893F5198296}" type="pres">
      <dgm:prSet presAssocID="{655D17D9-82EA-924E-B982-C2C5AAEEB4B8}" presName="FinalChildText" presStyleLbl="revTx" presStyleIdx="2" presStyleCnt="3" custScaleX="138915" custLinFactNeighborX="22997" custLinFactNeighborY="415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EEE51402-E7E4-3547-A8E3-140DA58EBA4C}" type="presOf" srcId="{1E5B15D3-DAEC-C14E-976C-CAFBCA928049}" destId="{9C936F26-E59C-4B48-B7B6-2FDF242AF599}" srcOrd="0" destOrd="0" presId="urn:microsoft.com/office/officeart/2005/8/layout/StepDownProcess"/>
    <dgm:cxn modelId="{4733EC1C-0719-534A-A737-8ABB5F393AE1}" srcId="{1F37D4EB-57D2-804D-AB49-F241A71F6A02}" destId="{A6E6345E-B68D-AC40-819A-03C492AB2D48}" srcOrd="0" destOrd="0" parTransId="{B8F4DB77-96BA-934A-B390-B590B68204E2}" sibTransId="{E12CA100-C166-6241-BB90-51721BBDB07C}"/>
    <dgm:cxn modelId="{AE8875EB-598C-324C-96F8-5A9412463642}" type="presOf" srcId="{655D17D9-82EA-924E-B982-C2C5AAEEB4B8}" destId="{4420A943-739B-3446-83CF-4CC9150554EF}" srcOrd="0" destOrd="0" presId="urn:microsoft.com/office/officeart/2005/8/layout/StepDownProcess"/>
    <dgm:cxn modelId="{B8BCAA87-2724-784D-BCCE-9275833762A6}" srcId="{A6E6345E-B68D-AC40-819A-03C492AB2D48}" destId="{1E5B15D3-DAEC-C14E-976C-CAFBCA928049}" srcOrd="0" destOrd="0" parTransId="{5647901F-7A1A-FB47-BCC6-68F791B28786}" sibTransId="{B2F920E3-8756-464E-8145-607939EDE9B0}"/>
    <dgm:cxn modelId="{87AD9FA8-7409-D64B-B17C-EEED8DA75EFE}" type="presOf" srcId="{A6E6345E-B68D-AC40-819A-03C492AB2D48}" destId="{9AC562C3-E8A2-8B42-A9D7-3BB9DBFEBBDF}" srcOrd="0" destOrd="0" presId="urn:microsoft.com/office/officeart/2005/8/layout/StepDownProcess"/>
    <dgm:cxn modelId="{832DF937-DD8A-8744-AB7D-23188D75DC50}" srcId="{D55B87C9-C855-F94B-8560-6DD16B31A7D6}" destId="{640DB307-6680-9649-9467-354447C3044F}" srcOrd="1" destOrd="0" parTransId="{9CE5E9EA-05A8-5742-8BA0-A73B48421A11}" sibTransId="{E31B3FE9-9927-F345-8E41-091745C592C3}"/>
    <dgm:cxn modelId="{BE102E18-B648-584D-9D83-319D2ABFA9F2}" srcId="{655D17D9-82EA-924E-B982-C2C5AAEEB4B8}" destId="{310119BA-7FB4-8648-8DD8-150EDF661E16}" srcOrd="0" destOrd="0" parTransId="{D49BDAF6-D96F-CF4D-985E-76D9D6453E0B}" sibTransId="{5D5C8674-52FF-874C-AD8C-CEAD38849D39}"/>
    <dgm:cxn modelId="{FB0C942D-ACD8-0748-9D42-CB45EBF23417}" srcId="{1F37D4EB-57D2-804D-AB49-F241A71F6A02}" destId="{655D17D9-82EA-924E-B982-C2C5AAEEB4B8}" srcOrd="2" destOrd="0" parTransId="{080064AD-69A0-EE45-88E4-768AB61595A7}" sibTransId="{1EAC69CC-1DE8-A648-BFE4-2BB3265A2093}"/>
    <dgm:cxn modelId="{AE76B160-0832-FF46-8B90-CBE7268F90CB}" type="presOf" srcId="{D55B87C9-C855-F94B-8560-6DD16B31A7D6}" destId="{596743A4-C2A0-314B-9AE5-AF1FE3BB310E}" srcOrd="0" destOrd="0" presId="urn:microsoft.com/office/officeart/2005/8/layout/StepDownProcess"/>
    <dgm:cxn modelId="{052789E6-1E0A-654F-AF4E-36050B4F10C1}" srcId="{D55B87C9-C855-F94B-8560-6DD16B31A7D6}" destId="{DAB229BF-07DD-C046-AF2C-D8206F781528}" srcOrd="0" destOrd="0" parTransId="{A9DC410B-56F7-7144-808B-DE0D920EC42A}" sibTransId="{EFDD6BAE-D813-8146-86C3-B8E4A48F6FB0}"/>
    <dgm:cxn modelId="{2357D47F-CF22-0D4F-A1C9-B6152904E9C0}" type="presOf" srcId="{1F37D4EB-57D2-804D-AB49-F241A71F6A02}" destId="{82FF3524-5611-E244-B99B-0A3B75E754A9}" srcOrd="0" destOrd="0" presId="urn:microsoft.com/office/officeart/2005/8/layout/StepDownProcess"/>
    <dgm:cxn modelId="{7FCD955E-E6B3-E742-A181-BBD29E4A3FBB}" type="presOf" srcId="{1BAF1C97-C18E-F743-A71E-35BE0C2DCCE6}" destId="{B80B5AC4-7DDE-7C49-9B18-89FB90561642}" srcOrd="0" destOrd="2" presId="urn:microsoft.com/office/officeart/2005/8/layout/StepDownProcess"/>
    <dgm:cxn modelId="{9A5E3CE8-8838-FC4A-BF81-766BA2EA2AE8}" type="presOf" srcId="{DAB229BF-07DD-C046-AF2C-D8206F781528}" destId="{B80B5AC4-7DDE-7C49-9B18-89FB90561642}" srcOrd="0" destOrd="0" presId="urn:microsoft.com/office/officeart/2005/8/layout/StepDownProcess"/>
    <dgm:cxn modelId="{EEC731F8-2459-D443-94AA-2D9B9ED65C3F}" type="presOf" srcId="{310119BA-7FB4-8648-8DD8-150EDF661E16}" destId="{3BD71708-21AD-D649-83DC-5893F5198296}" srcOrd="0" destOrd="0" presId="urn:microsoft.com/office/officeart/2005/8/layout/StepDownProcess"/>
    <dgm:cxn modelId="{25FAD260-309A-1D45-83B5-A1E4812C890F}" srcId="{D55B87C9-C855-F94B-8560-6DD16B31A7D6}" destId="{1BAF1C97-C18E-F743-A71E-35BE0C2DCCE6}" srcOrd="2" destOrd="0" parTransId="{F3D92550-6A19-A246-A1F6-EEE053CB57BF}" sibTransId="{7DE3F21C-AC92-0444-8F15-E9FBCEADD9E5}"/>
    <dgm:cxn modelId="{BC51309A-3159-CF4D-8F85-1D5B83095124}" type="presOf" srcId="{640DB307-6680-9649-9467-354447C3044F}" destId="{B80B5AC4-7DDE-7C49-9B18-89FB90561642}" srcOrd="0" destOrd="1" presId="urn:microsoft.com/office/officeart/2005/8/layout/StepDownProcess"/>
    <dgm:cxn modelId="{B6EB53F9-9C67-6E43-A2BC-48A9D152172B}" srcId="{1F37D4EB-57D2-804D-AB49-F241A71F6A02}" destId="{D55B87C9-C855-F94B-8560-6DD16B31A7D6}" srcOrd="1" destOrd="0" parTransId="{DF74A6CE-D003-994A-977A-01120A36463B}" sibTransId="{0F913F34-622F-7149-8CC0-EE33F1E685BF}"/>
    <dgm:cxn modelId="{C1F149C8-BA89-6340-ADB4-37EDC0283F4B}" type="presParOf" srcId="{82FF3524-5611-E244-B99B-0A3B75E754A9}" destId="{27E6662A-B17C-B841-8283-38135AC8EDE2}" srcOrd="0" destOrd="0" presId="urn:microsoft.com/office/officeart/2005/8/layout/StepDownProcess"/>
    <dgm:cxn modelId="{51D7FC42-23C6-9843-8C83-E037C7AE8E68}" type="presParOf" srcId="{27E6662A-B17C-B841-8283-38135AC8EDE2}" destId="{8169CC8C-92E9-5149-96DF-DFD3744A3443}" srcOrd="0" destOrd="0" presId="urn:microsoft.com/office/officeart/2005/8/layout/StepDownProcess"/>
    <dgm:cxn modelId="{68E15AE6-AAED-2041-BFD7-3F9ADCBC53AF}" type="presParOf" srcId="{27E6662A-B17C-B841-8283-38135AC8EDE2}" destId="{9AC562C3-E8A2-8B42-A9D7-3BB9DBFEBBDF}" srcOrd="1" destOrd="0" presId="urn:microsoft.com/office/officeart/2005/8/layout/StepDownProcess"/>
    <dgm:cxn modelId="{3B217144-84F2-9C46-B5B2-31E838402581}" type="presParOf" srcId="{27E6662A-B17C-B841-8283-38135AC8EDE2}" destId="{9C936F26-E59C-4B48-B7B6-2FDF242AF599}" srcOrd="2" destOrd="0" presId="urn:microsoft.com/office/officeart/2005/8/layout/StepDownProcess"/>
    <dgm:cxn modelId="{E8E3445D-5214-A949-9219-5B16298949B6}" type="presParOf" srcId="{82FF3524-5611-E244-B99B-0A3B75E754A9}" destId="{9DAA1199-979D-154E-B52E-C5D45550FD45}" srcOrd="1" destOrd="0" presId="urn:microsoft.com/office/officeart/2005/8/layout/StepDownProcess"/>
    <dgm:cxn modelId="{687292DC-0C9D-214D-BB32-F971DE35632C}" type="presParOf" srcId="{82FF3524-5611-E244-B99B-0A3B75E754A9}" destId="{FF720D5C-985A-D946-8851-143F7B66B219}" srcOrd="2" destOrd="0" presId="urn:microsoft.com/office/officeart/2005/8/layout/StepDownProcess"/>
    <dgm:cxn modelId="{38BC2439-0FE1-6F43-92CF-BD90D054D8B1}" type="presParOf" srcId="{FF720D5C-985A-D946-8851-143F7B66B219}" destId="{E51ECFA0-AD87-9B40-91CF-A964B9AE887D}" srcOrd="0" destOrd="0" presId="urn:microsoft.com/office/officeart/2005/8/layout/StepDownProcess"/>
    <dgm:cxn modelId="{14127330-2D9C-714C-8574-AD8E397EA467}" type="presParOf" srcId="{FF720D5C-985A-D946-8851-143F7B66B219}" destId="{596743A4-C2A0-314B-9AE5-AF1FE3BB310E}" srcOrd="1" destOrd="0" presId="urn:microsoft.com/office/officeart/2005/8/layout/StepDownProcess"/>
    <dgm:cxn modelId="{FEC67C3C-8C6F-054F-BE84-768CA01DEB21}" type="presParOf" srcId="{FF720D5C-985A-D946-8851-143F7B66B219}" destId="{B80B5AC4-7DDE-7C49-9B18-89FB90561642}" srcOrd="2" destOrd="0" presId="urn:microsoft.com/office/officeart/2005/8/layout/StepDownProcess"/>
    <dgm:cxn modelId="{19C1508B-AFD6-F64A-A875-ED9CFA473CFF}" type="presParOf" srcId="{82FF3524-5611-E244-B99B-0A3B75E754A9}" destId="{AE7C7969-B4C0-6D4F-A12C-DE8D20F823C9}" srcOrd="3" destOrd="0" presId="urn:microsoft.com/office/officeart/2005/8/layout/StepDownProcess"/>
    <dgm:cxn modelId="{9947F22D-8893-2A4F-8086-3C7907CA31FA}" type="presParOf" srcId="{82FF3524-5611-E244-B99B-0A3B75E754A9}" destId="{70F97E5C-742E-3541-8AAA-56140EF1CBB3}" srcOrd="4" destOrd="0" presId="urn:microsoft.com/office/officeart/2005/8/layout/StepDownProcess"/>
    <dgm:cxn modelId="{12BC28D6-AC21-5746-90C6-895F051DD287}" type="presParOf" srcId="{70F97E5C-742E-3541-8AAA-56140EF1CBB3}" destId="{4420A943-739B-3446-83CF-4CC9150554EF}" srcOrd="0" destOrd="0" presId="urn:microsoft.com/office/officeart/2005/8/layout/StepDownProcess"/>
    <dgm:cxn modelId="{0AB38872-FBE8-8B4E-ADE3-42D721768F06}" type="presParOf" srcId="{70F97E5C-742E-3541-8AAA-56140EF1CBB3}" destId="{3BD71708-21AD-D649-83DC-5893F5198296}" srcOrd="1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F37D4EB-57D2-804D-AB49-F241A71F6A02}" type="doc">
      <dgm:prSet loTypeId="urn:microsoft.com/office/officeart/2005/8/layout/StepDownProcess" loCatId="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GB"/>
        </a:p>
      </dgm:t>
    </dgm:pt>
    <dgm:pt modelId="{A6E6345E-B68D-AC40-819A-03C492AB2D48}">
      <dgm:prSet phldrT="[Text]"/>
      <dgm:spPr>
        <a:ln>
          <a:solidFill>
            <a:srgbClr val="7030A0"/>
          </a:solidFill>
        </a:ln>
      </dgm:spPr>
      <dgm:t>
        <a:bodyPr/>
        <a:lstStyle/>
        <a:p>
          <a:r>
            <a:rPr lang="en-GB" dirty="0" smtClean="0"/>
            <a:t>Admission</a:t>
          </a:r>
          <a:endParaRPr lang="en-GB" dirty="0"/>
        </a:p>
      </dgm:t>
    </dgm:pt>
    <dgm:pt modelId="{B8F4DB77-96BA-934A-B390-B590B68204E2}" type="parTrans" cxnId="{4733EC1C-0719-534A-A737-8ABB5F393AE1}">
      <dgm:prSet/>
      <dgm:spPr/>
      <dgm:t>
        <a:bodyPr/>
        <a:lstStyle/>
        <a:p>
          <a:endParaRPr lang="en-GB"/>
        </a:p>
      </dgm:t>
    </dgm:pt>
    <dgm:pt modelId="{E12CA100-C166-6241-BB90-51721BBDB07C}" type="sibTrans" cxnId="{4733EC1C-0719-534A-A737-8ABB5F393AE1}">
      <dgm:prSet/>
      <dgm:spPr/>
      <dgm:t>
        <a:bodyPr/>
        <a:lstStyle/>
        <a:p>
          <a:endParaRPr lang="en-GB"/>
        </a:p>
      </dgm:t>
    </dgm:pt>
    <dgm:pt modelId="{1E5B15D3-DAEC-C14E-976C-CAFBCA928049}">
      <dgm:prSet phldrT="[Text]" custT="1"/>
      <dgm:spPr/>
      <dgm:t>
        <a:bodyPr/>
        <a:lstStyle/>
        <a:p>
          <a:r>
            <a:rPr lang="en-GB" sz="2400" dirty="0" smtClean="0">
              <a:solidFill>
                <a:schemeClr val="tx1"/>
              </a:solidFill>
            </a:rPr>
            <a:t>Medicines reconciliation</a:t>
          </a:r>
          <a:endParaRPr lang="en-GB" sz="2400" dirty="0">
            <a:solidFill>
              <a:schemeClr val="tx1"/>
            </a:solidFill>
          </a:endParaRPr>
        </a:p>
      </dgm:t>
    </dgm:pt>
    <dgm:pt modelId="{5647901F-7A1A-FB47-BCC6-68F791B28786}" type="parTrans" cxnId="{B8BCAA87-2724-784D-BCCE-9275833762A6}">
      <dgm:prSet/>
      <dgm:spPr/>
      <dgm:t>
        <a:bodyPr/>
        <a:lstStyle/>
        <a:p>
          <a:endParaRPr lang="en-GB"/>
        </a:p>
      </dgm:t>
    </dgm:pt>
    <dgm:pt modelId="{B2F920E3-8756-464E-8145-607939EDE9B0}" type="sibTrans" cxnId="{B8BCAA87-2724-784D-BCCE-9275833762A6}">
      <dgm:prSet/>
      <dgm:spPr/>
      <dgm:t>
        <a:bodyPr/>
        <a:lstStyle/>
        <a:p>
          <a:endParaRPr lang="en-GB"/>
        </a:p>
      </dgm:t>
    </dgm:pt>
    <dgm:pt modelId="{D55B87C9-C855-F94B-8560-6DD16B31A7D6}">
      <dgm:prSet phldrT="[Text]"/>
      <dgm:spPr>
        <a:ln>
          <a:solidFill>
            <a:srgbClr val="7030A0"/>
          </a:solidFill>
        </a:ln>
      </dgm:spPr>
      <dgm:t>
        <a:bodyPr/>
        <a:lstStyle/>
        <a:p>
          <a:r>
            <a:rPr lang="en-GB" dirty="0" smtClean="0"/>
            <a:t>Stay </a:t>
          </a:r>
          <a:endParaRPr lang="en-GB" dirty="0"/>
        </a:p>
      </dgm:t>
    </dgm:pt>
    <dgm:pt modelId="{DF74A6CE-D003-994A-977A-01120A36463B}" type="parTrans" cxnId="{B6EB53F9-9C67-6E43-A2BC-48A9D152172B}">
      <dgm:prSet/>
      <dgm:spPr/>
      <dgm:t>
        <a:bodyPr/>
        <a:lstStyle/>
        <a:p>
          <a:endParaRPr lang="en-GB"/>
        </a:p>
      </dgm:t>
    </dgm:pt>
    <dgm:pt modelId="{0F913F34-622F-7149-8CC0-EE33F1E685BF}" type="sibTrans" cxnId="{B6EB53F9-9C67-6E43-A2BC-48A9D152172B}">
      <dgm:prSet/>
      <dgm:spPr/>
      <dgm:t>
        <a:bodyPr/>
        <a:lstStyle/>
        <a:p>
          <a:endParaRPr lang="en-GB"/>
        </a:p>
      </dgm:t>
    </dgm:pt>
    <dgm:pt modelId="{DAB229BF-07DD-C046-AF2C-D8206F781528}">
      <dgm:prSet phldrT="[Text]" custT="1"/>
      <dgm:spPr/>
      <dgm:t>
        <a:bodyPr/>
        <a:lstStyle/>
        <a:p>
          <a:r>
            <a:rPr lang="en-GB" sz="2400" dirty="0" smtClean="0">
              <a:solidFill>
                <a:srgbClr val="00A6D4"/>
              </a:solidFill>
            </a:rPr>
            <a:t>Medicines optimisation</a:t>
          </a:r>
          <a:endParaRPr lang="en-GB" sz="2400" dirty="0">
            <a:solidFill>
              <a:srgbClr val="00A6D4"/>
            </a:solidFill>
          </a:endParaRPr>
        </a:p>
      </dgm:t>
    </dgm:pt>
    <dgm:pt modelId="{A9DC410B-56F7-7144-808B-DE0D920EC42A}" type="parTrans" cxnId="{052789E6-1E0A-654F-AF4E-36050B4F10C1}">
      <dgm:prSet/>
      <dgm:spPr/>
      <dgm:t>
        <a:bodyPr/>
        <a:lstStyle/>
        <a:p>
          <a:endParaRPr lang="en-GB"/>
        </a:p>
      </dgm:t>
    </dgm:pt>
    <dgm:pt modelId="{EFDD6BAE-D813-8146-86C3-B8E4A48F6FB0}" type="sibTrans" cxnId="{052789E6-1E0A-654F-AF4E-36050B4F10C1}">
      <dgm:prSet/>
      <dgm:spPr/>
      <dgm:t>
        <a:bodyPr/>
        <a:lstStyle/>
        <a:p>
          <a:endParaRPr lang="en-GB"/>
        </a:p>
      </dgm:t>
    </dgm:pt>
    <dgm:pt modelId="{655D17D9-82EA-924E-B982-C2C5AAEEB4B8}">
      <dgm:prSet phldrT="[Text]"/>
      <dgm:spPr>
        <a:ln>
          <a:solidFill>
            <a:srgbClr val="7030A0"/>
          </a:solidFill>
        </a:ln>
      </dgm:spPr>
      <dgm:t>
        <a:bodyPr/>
        <a:lstStyle/>
        <a:p>
          <a:r>
            <a:rPr lang="en-GB" dirty="0" smtClean="0"/>
            <a:t>Discharge </a:t>
          </a:r>
          <a:endParaRPr lang="en-GB" dirty="0"/>
        </a:p>
      </dgm:t>
    </dgm:pt>
    <dgm:pt modelId="{080064AD-69A0-EE45-88E4-768AB61595A7}" type="parTrans" cxnId="{FB0C942D-ACD8-0748-9D42-CB45EBF23417}">
      <dgm:prSet/>
      <dgm:spPr/>
      <dgm:t>
        <a:bodyPr/>
        <a:lstStyle/>
        <a:p>
          <a:endParaRPr lang="en-GB"/>
        </a:p>
      </dgm:t>
    </dgm:pt>
    <dgm:pt modelId="{1EAC69CC-1DE8-A648-BFE4-2BB3265A2093}" type="sibTrans" cxnId="{FB0C942D-ACD8-0748-9D42-CB45EBF23417}">
      <dgm:prSet/>
      <dgm:spPr/>
      <dgm:t>
        <a:bodyPr/>
        <a:lstStyle/>
        <a:p>
          <a:endParaRPr lang="en-GB"/>
        </a:p>
      </dgm:t>
    </dgm:pt>
    <dgm:pt modelId="{310119BA-7FB4-8648-8DD8-150EDF661E16}">
      <dgm:prSet phldrT="[Text]" custT="1"/>
      <dgm:spPr/>
      <dgm:t>
        <a:bodyPr/>
        <a:lstStyle/>
        <a:p>
          <a:r>
            <a:rPr lang="en-GB" sz="2400" dirty="0" smtClean="0">
              <a:solidFill>
                <a:srgbClr val="00A6D4"/>
              </a:solidFill>
            </a:rPr>
            <a:t>Medicines review</a:t>
          </a:r>
          <a:endParaRPr lang="en-GB" sz="2400" dirty="0">
            <a:solidFill>
              <a:srgbClr val="00A6D4"/>
            </a:solidFill>
          </a:endParaRPr>
        </a:p>
      </dgm:t>
    </dgm:pt>
    <dgm:pt modelId="{D49BDAF6-D96F-CF4D-985E-76D9D6453E0B}" type="parTrans" cxnId="{BE102E18-B648-584D-9D83-319D2ABFA9F2}">
      <dgm:prSet/>
      <dgm:spPr/>
      <dgm:t>
        <a:bodyPr/>
        <a:lstStyle/>
        <a:p>
          <a:endParaRPr lang="en-GB"/>
        </a:p>
      </dgm:t>
    </dgm:pt>
    <dgm:pt modelId="{5D5C8674-52FF-874C-AD8C-CEAD38849D39}" type="sibTrans" cxnId="{BE102E18-B648-584D-9D83-319D2ABFA9F2}">
      <dgm:prSet/>
      <dgm:spPr/>
      <dgm:t>
        <a:bodyPr/>
        <a:lstStyle/>
        <a:p>
          <a:endParaRPr lang="en-GB"/>
        </a:p>
      </dgm:t>
    </dgm:pt>
    <dgm:pt modelId="{1BAF1C97-C18E-F743-A71E-35BE0C2DCCE6}">
      <dgm:prSet phldrT="[Text]" custT="1"/>
      <dgm:spPr/>
      <dgm:t>
        <a:bodyPr/>
        <a:lstStyle/>
        <a:p>
          <a:r>
            <a:rPr lang="en-GB" sz="2400" dirty="0" smtClean="0">
              <a:solidFill>
                <a:srgbClr val="00A6D4"/>
              </a:solidFill>
            </a:rPr>
            <a:t>Safety</a:t>
          </a:r>
          <a:r>
            <a:rPr lang="en-GB" sz="2400" dirty="0" smtClean="0"/>
            <a:t> </a:t>
          </a:r>
          <a:endParaRPr lang="en-GB" sz="2400" dirty="0"/>
        </a:p>
      </dgm:t>
    </dgm:pt>
    <dgm:pt modelId="{F3D92550-6A19-A246-A1F6-EEE053CB57BF}" type="parTrans" cxnId="{25FAD260-309A-1D45-83B5-A1E4812C890F}">
      <dgm:prSet/>
      <dgm:spPr/>
      <dgm:t>
        <a:bodyPr/>
        <a:lstStyle/>
        <a:p>
          <a:endParaRPr lang="en-GB"/>
        </a:p>
      </dgm:t>
    </dgm:pt>
    <dgm:pt modelId="{7DE3F21C-AC92-0444-8F15-E9FBCEADD9E5}" type="sibTrans" cxnId="{25FAD260-309A-1D45-83B5-A1E4812C890F}">
      <dgm:prSet/>
      <dgm:spPr/>
      <dgm:t>
        <a:bodyPr/>
        <a:lstStyle/>
        <a:p>
          <a:endParaRPr lang="en-GB"/>
        </a:p>
      </dgm:t>
    </dgm:pt>
    <dgm:pt modelId="{640DB307-6680-9649-9467-354447C3044F}">
      <dgm:prSet phldrT="[Text]" custT="1"/>
      <dgm:spPr/>
      <dgm:t>
        <a:bodyPr/>
        <a:lstStyle/>
        <a:p>
          <a:r>
            <a:rPr lang="en-GB" sz="2400" dirty="0" smtClean="0">
              <a:solidFill>
                <a:srgbClr val="00A6D4"/>
              </a:solidFill>
            </a:rPr>
            <a:t>Prescribing </a:t>
          </a:r>
          <a:endParaRPr lang="en-GB" sz="2400" dirty="0">
            <a:solidFill>
              <a:srgbClr val="00A6D4"/>
            </a:solidFill>
          </a:endParaRPr>
        </a:p>
      </dgm:t>
    </dgm:pt>
    <dgm:pt modelId="{9CE5E9EA-05A8-5742-8BA0-A73B48421A11}" type="parTrans" cxnId="{832DF937-DD8A-8744-AB7D-23188D75DC50}">
      <dgm:prSet/>
      <dgm:spPr/>
      <dgm:t>
        <a:bodyPr/>
        <a:lstStyle/>
        <a:p>
          <a:endParaRPr lang="en-GB"/>
        </a:p>
      </dgm:t>
    </dgm:pt>
    <dgm:pt modelId="{E31B3FE9-9927-F345-8E41-091745C592C3}" type="sibTrans" cxnId="{832DF937-DD8A-8744-AB7D-23188D75DC50}">
      <dgm:prSet/>
      <dgm:spPr/>
      <dgm:t>
        <a:bodyPr/>
        <a:lstStyle/>
        <a:p>
          <a:endParaRPr lang="en-GB"/>
        </a:p>
      </dgm:t>
    </dgm:pt>
    <dgm:pt modelId="{82FF3524-5611-E244-B99B-0A3B75E754A9}" type="pres">
      <dgm:prSet presAssocID="{1F37D4EB-57D2-804D-AB49-F241A71F6A02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en-GB"/>
        </a:p>
      </dgm:t>
    </dgm:pt>
    <dgm:pt modelId="{27E6662A-B17C-B841-8283-38135AC8EDE2}" type="pres">
      <dgm:prSet presAssocID="{A6E6345E-B68D-AC40-819A-03C492AB2D48}" presName="composite" presStyleCnt="0"/>
      <dgm:spPr/>
    </dgm:pt>
    <dgm:pt modelId="{8169CC8C-92E9-5149-96DF-DFD3744A3443}" type="pres">
      <dgm:prSet presAssocID="{A6E6345E-B68D-AC40-819A-03C492AB2D48}" presName="bentUpArrow1" presStyleLbl="alignImgPlace1" presStyleIdx="0" presStyleCnt="2"/>
      <dgm:spPr>
        <a:ln>
          <a:solidFill>
            <a:srgbClr val="7030A0"/>
          </a:solidFill>
        </a:ln>
      </dgm:spPr>
    </dgm:pt>
    <dgm:pt modelId="{9AC562C3-E8A2-8B42-A9D7-3BB9DBFEBBDF}" type="pres">
      <dgm:prSet presAssocID="{A6E6345E-B68D-AC40-819A-03C492AB2D48}" presName="ParentText" presStyleLbl="node1" presStyleIdx="0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C936F26-E59C-4B48-B7B6-2FDF242AF599}" type="pres">
      <dgm:prSet presAssocID="{A6E6345E-B68D-AC40-819A-03C492AB2D48}" presName="ChildText" presStyleLbl="revTx" presStyleIdx="0" presStyleCnt="3" custScaleX="288258" custScaleY="119573" custLinFactNeighborX="93370" custLinFactNeighborY="113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DAA1199-979D-154E-B52E-C5D45550FD45}" type="pres">
      <dgm:prSet presAssocID="{E12CA100-C166-6241-BB90-51721BBDB07C}" presName="sibTrans" presStyleCnt="0"/>
      <dgm:spPr/>
    </dgm:pt>
    <dgm:pt modelId="{FF720D5C-985A-D946-8851-143F7B66B219}" type="pres">
      <dgm:prSet presAssocID="{D55B87C9-C855-F94B-8560-6DD16B31A7D6}" presName="composite" presStyleCnt="0"/>
      <dgm:spPr/>
    </dgm:pt>
    <dgm:pt modelId="{E51ECFA0-AD87-9B40-91CF-A964B9AE887D}" type="pres">
      <dgm:prSet presAssocID="{D55B87C9-C855-F94B-8560-6DD16B31A7D6}" presName="bentUpArrow1" presStyleLbl="alignImgPlace1" presStyleIdx="1" presStyleCnt="2"/>
      <dgm:spPr>
        <a:ln>
          <a:solidFill>
            <a:srgbClr val="7030A0"/>
          </a:solidFill>
        </a:ln>
      </dgm:spPr>
    </dgm:pt>
    <dgm:pt modelId="{596743A4-C2A0-314B-9AE5-AF1FE3BB310E}" type="pres">
      <dgm:prSet presAssocID="{D55B87C9-C855-F94B-8560-6DD16B31A7D6}" presName="ParentText" presStyleLbl="node1" presStyleIdx="1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B80B5AC4-7DDE-7C49-9B18-89FB90561642}" type="pres">
      <dgm:prSet presAssocID="{D55B87C9-C855-F94B-8560-6DD16B31A7D6}" presName="ChildText" presStyleLbl="revTx" presStyleIdx="1" presStyleCnt="3" custScaleX="280023" custScaleY="140850" custLinFactX="2740" custLinFactNeighborX="100000" custLinFactNeighborY="419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AE7C7969-B4C0-6D4F-A12C-DE8D20F823C9}" type="pres">
      <dgm:prSet presAssocID="{0F913F34-622F-7149-8CC0-EE33F1E685BF}" presName="sibTrans" presStyleCnt="0"/>
      <dgm:spPr/>
    </dgm:pt>
    <dgm:pt modelId="{70F97E5C-742E-3541-8AAA-56140EF1CBB3}" type="pres">
      <dgm:prSet presAssocID="{655D17D9-82EA-924E-B982-C2C5AAEEB4B8}" presName="composite" presStyleCnt="0"/>
      <dgm:spPr/>
    </dgm:pt>
    <dgm:pt modelId="{4420A943-739B-3446-83CF-4CC9150554EF}" type="pres">
      <dgm:prSet presAssocID="{655D17D9-82EA-924E-B982-C2C5AAEEB4B8}" presName="ParentText" presStyleLbl="node1" presStyleIdx="2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3BD71708-21AD-D649-83DC-5893F5198296}" type="pres">
      <dgm:prSet presAssocID="{655D17D9-82EA-924E-B982-C2C5AAEEB4B8}" presName="FinalChildText" presStyleLbl="revTx" presStyleIdx="2" presStyleCnt="3" custScaleX="138915" custLinFactNeighborX="22997" custLinFactNeighborY="415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A1D92B7C-178C-714B-92D0-4F878495A304}" type="presOf" srcId="{1BAF1C97-C18E-F743-A71E-35BE0C2DCCE6}" destId="{B80B5AC4-7DDE-7C49-9B18-89FB90561642}" srcOrd="0" destOrd="2" presId="urn:microsoft.com/office/officeart/2005/8/layout/StepDownProcess"/>
    <dgm:cxn modelId="{49E3FA0A-BBA7-554F-8918-CD89361A3CB5}" type="presOf" srcId="{1E5B15D3-DAEC-C14E-976C-CAFBCA928049}" destId="{9C936F26-E59C-4B48-B7B6-2FDF242AF599}" srcOrd="0" destOrd="0" presId="urn:microsoft.com/office/officeart/2005/8/layout/StepDownProcess"/>
    <dgm:cxn modelId="{470654F7-0304-2344-A051-98EE0CEDA4C1}" type="presOf" srcId="{1F37D4EB-57D2-804D-AB49-F241A71F6A02}" destId="{82FF3524-5611-E244-B99B-0A3B75E754A9}" srcOrd="0" destOrd="0" presId="urn:microsoft.com/office/officeart/2005/8/layout/StepDownProcess"/>
    <dgm:cxn modelId="{4733EC1C-0719-534A-A737-8ABB5F393AE1}" srcId="{1F37D4EB-57D2-804D-AB49-F241A71F6A02}" destId="{A6E6345E-B68D-AC40-819A-03C492AB2D48}" srcOrd="0" destOrd="0" parTransId="{B8F4DB77-96BA-934A-B390-B590B68204E2}" sibTransId="{E12CA100-C166-6241-BB90-51721BBDB07C}"/>
    <dgm:cxn modelId="{02ED9C2C-A5DD-474B-A6D1-6F483A50813F}" type="presOf" srcId="{655D17D9-82EA-924E-B982-C2C5AAEEB4B8}" destId="{4420A943-739B-3446-83CF-4CC9150554EF}" srcOrd="0" destOrd="0" presId="urn:microsoft.com/office/officeart/2005/8/layout/StepDownProcess"/>
    <dgm:cxn modelId="{B8BCAA87-2724-784D-BCCE-9275833762A6}" srcId="{A6E6345E-B68D-AC40-819A-03C492AB2D48}" destId="{1E5B15D3-DAEC-C14E-976C-CAFBCA928049}" srcOrd="0" destOrd="0" parTransId="{5647901F-7A1A-FB47-BCC6-68F791B28786}" sibTransId="{B2F920E3-8756-464E-8145-607939EDE9B0}"/>
    <dgm:cxn modelId="{832DF937-DD8A-8744-AB7D-23188D75DC50}" srcId="{D55B87C9-C855-F94B-8560-6DD16B31A7D6}" destId="{640DB307-6680-9649-9467-354447C3044F}" srcOrd="1" destOrd="0" parTransId="{9CE5E9EA-05A8-5742-8BA0-A73B48421A11}" sibTransId="{E31B3FE9-9927-F345-8E41-091745C592C3}"/>
    <dgm:cxn modelId="{ECF06EE1-67B4-C14A-A32D-73F5B20825E3}" type="presOf" srcId="{640DB307-6680-9649-9467-354447C3044F}" destId="{B80B5AC4-7DDE-7C49-9B18-89FB90561642}" srcOrd="0" destOrd="1" presId="urn:microsoft.com/office/officeart/2005/8/layout/StepDownProcess"/>
    <dgm:cxn modelId="{BE102E18-B648-584D-9D83-319D2ABFA9F2}" srcId="{655D17D9-82EA-924E-B982-C2C5AAEEB4B8}" destId="{310119BA-7FB4-8648-8DD8-150EDF661E16}" srcOrd="0" destOrd="0" parTransId="{D49BDAF6-D96F-CF4D-985E-76D9D6453E0B}" sibTransId="{5D5C8674-52FF-874C-AD8C-CEAD38849D39}"/>
    <dgm:cxn modelId="{FB0C942D-ACD8-0748-9D42-CB45EBF23417}" srcId="{1F37D4EB-57D2-804D-AB49-F241A71F6A02}" destId="{655D17D9-82EA-924E-B982-C2C5AAEEB4B8}" srcOrd="2" destOrd="0" parTransId="{080064AD-69A0-EE45-88E4-768AB61595A7}" sibTransId="{1EAC69CC-1DE8-A648-BFE4-2BB3265A2093}"/>
    <dgm:cxn modelId="{052789E6-1E0A-654F-AF4E-36050B4F10C1}" srcId="{D55B87C9-C855-F94B-8560-6DD16B31A7D6}" destId="{DAB229BF-07DD-C046-AF2C-D8206F781528}" srcOrd="0" destOrd="0" parTransId="{A9DC410B-56F7-7144-808B-DE0D920EC42A}" sibTransId="{EFDD6BAE-D813-8146-86C3-B8E4A48F6FB0}"/>
    <dgm:cxn modelId="{7A5E375E-EC0B-D54B-8798-9FF93D8CCC18}" type="presOf" srcId="{310119BA-7FB4-8648-8DD8-150EDF661E16}" destId="{3BD71708-21AD-D649-83DC-5893F5198296}" srcOrd="0" destOrd="0" presId="urn:microsoft.com/office/officeart/2005/8/layout/StepDownProcess"/>
    <dgm:cxn modelId="{F3804DC8-ECB2-D845-98F1-CB337F81BA8F}" type="presOf" srcId="{DAB229BF-07DD-C046-AF2C-D8206F781528}" destId="{B80B5AC4-7DDE-7C49-9B18-89FB90561642}" srcOrd="0" destOrd="0" presId="urn:microsoft.com/office/officeart/2005/8/layout/StepDownProcess"/>
    <dgm:cxn modelId="{25FAD260-309A-1D45-83B5-A1E4812C890F}" srcId="{D55B87C9-C855-F94B-8560-6DD16B31A7D6}" destId="{1BAF1C97-C18E-F743-A71E-35BE0C2DCCE6}" srcOrd="2" destOrd="0" parTransId="{F3D92550-6A19-A246-A1F6-EEE053CB57BF}" sibTransId="{7DE3F21C-AC92-0444-8F15-E9FBCEADD9E5}"/>
    <dgm:cxn modelId="{310356A1-23CA-184B-B50A-270D4B86F921}" type="presOf" srcId="{A6E6345E-B68D-AC40-819A-03C492AB2D48}" destId="{9AC562C3-E8A2-8B42-A9D7-3BB9DBFEBBDF}" srcOrd="0" destOrd="0" presId="urn:microsoft.com/office/officeart/2005/8/layout/StepDownProcess"/>
    <dgm:cxn modelId="{31B8D01A-32BB-DE4A-8D42-26B8BB2F4029}" type="presOf" srcId="{D55B87C9-C855-F94B-8560-6DD16B31A7D6}" destId="{596743A4-C2A0-314B-9AE5-AF1FE3BB310E}" srcOrd="0" destOrd="0" presId="urn:microsoft.com/office/officeart/2005/8/layout/StepDownProcess"/>
    <dgm:cxn modelId="{B6EB53F9-9C67-6E43-A2BC-48A9D152172B}" srcId="{1F37D4EB-57D2-804D-AB49-F241A71F6A02}" destId="{D55B87C9-C855-F94B-8560-6DD16B31A7D6}" srcOrd="1" destOrd="0" parTransId="{DF74A6CE-D003-994A-977A-01120A36463B}" sibTransId="{0F913F34-622F-7149-8CC0-EE33F1E685BF}"/>
    <dgm:cxn modelId="{EF6D3F3A-E28B-214A-8E31-07DD928F2137}" type="presParOf" srcId="{82FF3524-5611-E244-B99B-0A3B75E754A9}" destId="{27E6662A-B17C-B841-8283-38135AC8EDE2}" srcOrd="0" destOrd="0" presId="urn:microsoft.com/office/officeart/2005/8/layout/StepDownProcess"/>
    <dgm:cxn modelId="{37399583-B400-0A40-8858-CD6D9D9E4FF8}" type="presParOf" srcId="{27E6662A-B17C-B841-8283-38135AC8EDE2}" destId="{8169CC8C-92E9-5149-96DF-DFD3744A3443}" srcOrd="0" destOrd="0" presId="urn:microsoft.com/office/officeart/2005/8/layout/StepDownProcess"/>
    <dgm:cxn modelId="{F049F32F-3222-0F43-A462-0E1BA24FE6A1}" type="presParOf" srcId="{27E6662A-B17C-B841-8283-38135AC8EDE2}" destId="{9AC562C3-E8A2-8B42-A9D7-3BB9DBFEBBDF}" srcOrd="1" destOrd="0" presId="urn:microsoft.com/office/officeart/2005/8/layout/StepDownProcess"/>
    <dgm:cxn modelId="{49D11653-B5FF-E84D-89F8-034096E59295}" type="presParOf" srcId="{27E6662A-B17C-B841-8283-38135AC8EDE2}" destId="{9C936F26-E59C-4B48-B7B6-2FDF242AF599}" srcOrd="2" destOrd="0" presId="urn:microsoft.com/office/officeart/2005/8/layout/StepDownProcess"/>
    <dgm:cxn modelId="{2ADA3608-A564-564A-8CEA-3DBF7A86450C}" type="presParOf" srcId="{82FF3524-5611-E244-B99B-0A3B75E754A9}" destId="{9DAA1199-979D-154E-B52E-C5D45550FD45}" srcOrd="1" destOrd="0" presId="urn:microsoft.com/office/officeart/2005/8/layout/StepDownProcess"/>
    <dgm:cxn modelId="{80A2E59B-FCC5-E945-BC1E-ED41EB047FB2}" type="presParOf" srcId="{82FF3524-5611-E244-B99B-0A3B75E754A9}" destId="{FF720D5C-985A-D946-8851-143F7B66B219}" srcOrd="2" destOrd="0" presId="urn:microsoft.com/office/officeart/2005/8/layout/StepDownProcess"/>
    <dgm:cxn modelId="{E674C45A-CC79-984D-8AEF-1B063FD49508}" type="presParOf" srcId="{FF720D5C-985A-D946-8851-143F7B66B219}" destId="{E51ECFA0-AD87-9B40-91CF-A964B9AE887D}" srcOrd="0" destOrd="0" presId="urn:microsoft.com/office/officeart/2005/8/layout/StepDownProcess"/>
    <dgm:cxn modelId="{AA0C152D-0611-DC49-AF6C-AA9BB4C4347F}" type="presParOf" srcId="{FF720D5C-985A-D946-8851-143F7B66B219}" destId="{596743A4-C2A0-314B-9AE5-AF1FE3BB310E}" srcOrd="1" destOrd="0" presId="urn:microsoft.com/office/officeart/2005/8/layout/StepDownProcess"/>
    <dgm:cxn modelId="{5C8E9C36-3CB0-F24E-A660-8DB82DD2B083}" type="presParOf" srcId="{FF720D5C-985A-D946-8851-143F7B66B219}" destId="{B80B5AC4-7DDE-7C49-9B18-89FB90561642}" srcOrd="2" destOrd="0" presId="urn:microsoft.com/office/officeart/2005/8/layout/StepDownProcess"/>
    <dgm:cxn modelId="{373B5600-72DA-E646-999E-3C2D6F0EB335}" type="presParOf" srcId="{82FF3524-5611-E244-B99B-0A3B75E754A9}" destId="{AE7C7969-B4C0-6D4F-A12C-DE8D20F823C9}" srcOrd="3" destOrd="0" presId="urn:microsoft.com/office/officeart/2005/8/layout/StepDownProcess"/>
    <dgm:cxn modelId="{8D0B1353-477D-7E42-8180-59621149A6E8}" type="presParOf" srcId="{82FF3524-5611-E244-B99B-0A3B75E754A9}" destId="{70F97E5C-742E-3541-8AAA-56140EF1CBB3}" srcOrd="4" destOrd="0" presId="urn:microsoft.com/office/officeart/2005/8/layout/StepDownProcess"/>
    <dgm:cxn modelId="{5149A50B-3A50-4848-91D2-F25696197165}" type="presParOf" srcId="{70F97E5C-742E-3541-8AAA-56140EF1CBB3}" destId="{4420A943-739B-3446-83CF-4CC9150554EF}" srcOrd="0" destOrd="0" presId="urn:microsoft.com/office/officeart/2005/8/layout/StepDownProcess"/>
    <dgm:cxn modelId="{796DBD77-2F05-B744-B0E2-B3739DB76D29}" type="presParOf" srcId="{70F97E5C-742E-3541-8AAA-56140EF1CBB3}" destId="{3BD71708-21AD-D649-83DC-5893F5198296}" srcOrd="1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F37D4EB-57D2-804D-AB49-F241A71F6A02}" type="doc">
      <dgm:prSet loTypeId="urn:microsoft.com/office/officeart/2005/8/layout/StepDownProcess" loCatId="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GB"/>
        </a:p>
      </dgm:t>
    </dgm:pt>
    <dgm:pt modelId="{A6E6345E-B68D-AC40-819A-03C492AB2D48}">
      <dgm:prSet phldrT="[Text]"/>
      <dgm:spPr>
        <a:ln>
          <a:solidFill>
            <a:srgbClr val="7030A0"/>
          </a:solidFill>
        </a:ln>
      </dgm:spPr>
      <dgm:t>
        <a:bodyPr/>
        <a:lstStyle/>
        <a:p>
          <a:r>
            <a:rPr lang="en-GB" dirty="0" smtClean="0"/>
            <a:t>Admission</a:t>
          </a:r>
          <a:endParaRPr lang="en-GB" dirty="0"/>
        </a:p>
      </dgm:t>
    </dgm:pt>
    <dgm:pt modelId="{B8F4DB77-96BA-934A-B390-B590B68204E2}" type="parTrans" cxnId="{4733EC1C-0719-534A-A737-8ABB5F393AE1}">
      <dgm:prSet/>
      <dgm:spPr/>
      <dgm:t>
        <a:bodyPr/>
        <a:lstStyle/>
        <a:p>
          <a:endParaRPr lang="en-GB"/>
        </a:p>
      </dgm:t>
    </dgm:pt>
    <dgm:pt modelId="{E12CA100-C166-6241-BB90-51721BBDB07C}" type="sibTrans" cxnId="{4733EC1C-0719-534A-A737-8ABB5F393AE1}">
      <dgm:prSet/>
      <dgm:spPr/>
      <dgm:t>
        <a:bodyPr/>
        <a:lstStyle/>
        <a:p>
          <a:endParaRPr lang="en-GB"/>
        </a:p>
      </dgm:t>
    </dgm:pt>
    <dgm:pt modelId="{1E5B15D3-DAEC-C14E-976C-CAFBCA928049}">
      <dgm:prSet phldrT="[Text]" custT="1"/>
      <dgm:spPr/>
      <dgm:t>
        <a:bodyPr/>
        <a:lstStyle/>
        <a:p>
          <a:r>
            <a:rPr lang="en-GB" sz="2400" dirty="0" smtClean="0">
              <a:solidFill>
                <a:srgbClr val="00A6D4"/>
              </a:solidFill>
            </a:rPr>
            <a:t>Medicines reconciliation</a:t>
          </a:r>
          <a:endParaRPr lang="en-GB" sz="2400" dirty="0">
            <a:solidFill>
              <a:srgbClr val="00A6D4"/>
            </a:solidFill>
          </a:endParaRPr>
        </a:p>
      </dgm:t>
    </dgm:pt>
    <dgm:pt modelId="{5647901F-7A1A-FB47-BCC6-68F791B28786}" type="parTrans" cxnId="{B8BCAA87-2724-784D-BCCE-9275833762A6}">
      <dgm:prSet/>
      <dgm:spPr/>
      <dgm:t>
        <a:bodyPr/>
        <a:lstStyle/>
        <a:p>
          <a:endParaRPr lang="en-GB"/>
        </a:p>
      </dgm:t>
    </dgm:pt>
    <dgm:pt modelId="{B2F920E3-8756-464E-8145-607939EDE9B0}" type="sibTrans" cxnId="{B8BCAA87-2724-784D-BCCE-9275833762A6}">
      <dgm:prSet/>
      <dgm:spPr/>
      <dgm:t>
        <a:bodyPr/>
        <a:lstStyle/>
        <a:p>
          <a:endParaRPr lang="en-GB"/>
        </a:p>
      </dgm:t>
    </dgm:pt>
    <dgm:pt modelId="{D55B87C9-C855-F94B-8560-6DD16B31A7D6}">
      <dgm:prSet phldrT="[Text]"/>
      <dgm:spPr>
        <a:ln>
          <a:solidFill>
            <a:srgbClr val="7030A0"/>
          </a:solidFill>
        </a:ln>
      </dgm:spPr>
      <dgm:t>
        <a:bodyPr/>
        <a:lstStyle/>
        <a:p>
          <a:r>
            <a:rPr lang="en-GB" dirty="0" smtClean="0"/>
            <a:t>Stay </a:t>
          </a:r>
          <a:endParaRPr lang="en-GB" dirty="0"/>
        </a:p>
      </dgm:t>
    </dgm:pt>
    <dgm:pt modelId="{DF74A6CE-D003-994A-977A-01120A36463B}" type="parTrans" cxnId="{B6EB53F9-9C67-6E43-A2BC-48A9D152172B}">
      <dgm:prSet/>
      <dgm:spPr/>
      <dgm:t>
        <a:bodyPr/>
        <a:lstStyle/>
        <a:p>
          <a:endParaRPr lang="en-GB"/>
        </a:p>
      </dgm:t>
    </dgm:pt>
    <dgm:pt modelId="{0F913F34-622F-7149-8CC0-EE33F1E685BF}" type="sibTrans" cxnId="{B6EB53F9-9C67-6E43-A2BC-48A9D152172B}">
      <dgm:prSet/>
      <dgm:spPr/>
      <dgm:t>
        <a:bodyPr/>
        <a:lstStyle/>
        <a:p>
          <a:endParaRPr lang="en-GB"/>
        </a:p>
      </dgm:t>
    </dgm:pt>
    <dgm:pt modelId="{DAB229BF-07DD-C046-AF2C-D8206F781528}">
      <dgm:prSet phldrT="[Text]" custT="1"/>
      <dgm:spPr/>
      <dgm:t>
        <a:bodyPr/>
        <a:lstStyle/>
        <a:p>
          <a:r>
            <a:rPr lang="en-GB" sz="2400" dirty="0" smtClean="0"/>
            <a:t>Medicines optimisation</a:t>
          </a:r>
          <a:endParaRPr lang="en-GB" sz="2400" dirty="0"/>
        </a:p>
      </dgm:t>
    </dgm:pt>
    <dgm:pt modelId="{A9DC410B-56F7-7144-808B-DE0D920EC42A}" type="parTrans" cxnId="{052789E6-1E0A-654F-AF4E-36050B4F10C1}">
      <dgm:prSet/>
      <dgm:spPr/>
      <dgm:t>
        <a:bodyPr/>
        <a:lstStyle/>
        <a:p>
          <a:endParaRPr lang="en-GB"/>
        </a:p>
      </dgm:t>
    </dgm:pt>
    <dgm:pt modelId="{EFDD6BAE-D813-8146-86C3-B8E4A48F6FB0}" type="sibTrans" cxnId="{052789E6-1E0A-654F-AF4E-36050B4F10C1}">
      <dgm:prSet/>
      <dgm:spPr/>
      <dgm:t>
        <a:bodyPr/>
        <a:lstStyle/>
        <a:p>
          <a:endParaRPr lang="en-GB"/>
        </a:p>
      </dgm:t>
    </dgm:pt>
    <dgm:pt modelId="{655D17D9-82EA-924E-B982-C2C5AAEEB4B8}">
      <dgm:prSet phldrT="[Text]"/>
      <dgm:spPr>
        <a:ln>
          <a:solidFill>
            <a:srgbClr val="7030A0"/>
          </a:solidFill>
        </a:ln>
      </dgm:spPr>
      <dgm:t>
        <a:bodyPr/>
        <a:lstStyle/>
        <a:p>
          <a:r>
            <a:rPr lang="en-GB" dirty="0" smtClean="0"/>
            <a:t>Discharge </a:t>
          </a:r>
          <a:endParaRPr lang="en-GB" dirty="0"/>
        </a:p>
      </dgm:t>
    </dgm:pt>
    <dgm:pt modelId="{080064AD-69A0-EE45-88E4-768AB61595A7}" type="parTrans" cxnId="{FB0C942D-ACD8-0748-9D42-CB45EBF23417}">
      <dgm:prSet/>
      <dgm:spPr/>
      <dgm:t>
        <a:bodyPr/>
        <a:lstStyle/>
        <a:p>
          <a:endParaRPr lang="en-GB"/>
        </a:p>
      </dgm:t>
    </dgm:pt>
    <dgm:pt modelId="{1EAC69CC-1DE8-A648-BFE4-2BB3265A2093}" type="sibTrans" cxnId="{FB0C942D-ACD8-0748-9D42-CB45EBF23417}">
      <dgm:prSet/>
      <dgm:spPr/>
      <dgm:t>
        <a:bodyPr/>
        <a:lstStyle/>
        <a:p>
          <a:endParaRPr lang="en-GB"/>
        </a:p>
      </dgm:t>
    </dgm:pt>
    <dgm:pt modelId="{310119BA-7FB4-8648-8DD8-150EDF661E16}">
      <dgm:prSet phldrT="[Text]" custT="1"/>
      <dgm:spPr/>
      <dgm:t>
        <a:bodyPr/>
        <a:lstStyle/>
        <a:p>
          <a:r>
            <a:rPr lang="en-GB" sz="2400" dirty="0" smtClean="0">
              <a:solidFill>
                <a:srgbClr val="00A6D4"/>
              </a:solidFill>
            </a:rPr>
            <a:t>Medicines review</a:t>
          </a:r>
          <a:endParaRPr lang="en-GB" sz="2400" dirty="0">
            <a:solidFill>
              <a:srgbClr val="00A6D4"/>
            </a:solidFill>
          </a:endParaRPr>
        </a:p>
      </dgm:t>
    </dgm:pt>
    <dgm:pt modelId="{D49BDAF6-D96F-CF4D-985E-76D9D6453E0B}" type="parTrans" cxnId="{BE102E18-B648-584D-9D83-319D2ABFA9F2}">
      <dgm:prSet/>
      <dgm:spPr/>
      <dgm:t>
        <a:bodyPr/>
        <a:lstStyle/>
        <a:p>
          <a:endParaRPr lang="en-GB"/>
        </a:p>
      </dgm:t>
    </dgm:pt>
    <dgm:pt modelId="{5D5C8674-52FF-874C-AD8C-CEAD38849D39}" type="sibTrans" cxnId="{BE102E18-B648-584D-9D83-319D2ABFA9F2}">
      <dgm:prSet/>
      <dgm:spPr/>
      <dgm:t>
        <a:bodyPr/>
        <a:lstStyle/>
        <a:p>
          <a:endParaRPr lang="en-GB"/>
        </a:p>
      </dgm:t>
    </dgm:pt>
    <dgm:pt modelId="{1BAF1C97-C18E-F743-A71E-35BE0C2DCCE6}">
      <dgm:prSet phldrT="[Text]" custT="1"/>
      <dgm:spPr/>
      <dgm:t>
        <a:bodyPr/>
        <a:lstStyle/>
        <a:p>
          <a:r>
            <a:rPr lang="en-GB" sz="2400" dirty="0" smtClean="0">
              <a:solidFill>
                <a:srgbClr val="00A6D4"/>
              </a:solidFill>
            </a:rPr>
            <a:t>Safety </a:t>
          </a:r>
          <a:endParaRPr lang="en-GB" sz="2400" dirty="0">
            <a:solidFill>
              <a:srgbClr val="00A6D4"/>
            </a:solidFill>
          </a:endParaRPr>
        </a:p>
      </dgm:t>
    </dgm:pt>
    <dgm:pt modelId="{F3D92550-6A19-A246-A1F6-EEE053CB57BF}" type="parTrans" cxnId="{25FAD260-309A-1D45-83B5-A1E4812C890F}">
      <dgm:prSet/>
      <dgm:spPr/>
      <dgm:t>
        <a:bodyPr/>
        <a:lstStyle/>
        <a:p>
          <a:endParaRPr lang="en-GB"/>
        </a:p>
      </dgm:t>
    </dgm:pt>
    <dgm:pt modelId="{7DE3F21C-AC92-0444-8F15-E9FBCEADD9E5}" type="sibTrans" cxnId="{25FAD260-309A-1D45-83B5-A1E4812C890F}">
      <dgm:prSet/>
      <dgm:spPr/>
      <dgm:t>
        <a:bodyPr/>
        <a:lstStyle/>
        <a:p>
          <a:endParaRPr lang="en-GB"/>
        </a:p>
      </dgm:t>
    </dgm:pt>
    <dgm:pt modelId="{640DB307-6680-9649-9467-354447C3044F}">
      <dgm:prSet phldrT="[Text]" custT="1"/>
      <dgm:spPr/>
      <dgm:t>
        <a:bodyPr/>
        <a:lstStyle/>
        <a:p>
          <a:r>
            <a:rPr lang="en-GB" sz="2400" dirty="0" smtClean="0">
              <a:solidFill>
                <a:srgbClr val="00A6D4"/>
              </a:solidFill>
            </a:rPr>
            <a:t>Prescribing  </a:t>
          </a:r>
          <a:endParaRPr lang="en-GB" sz="2400" dirty="0">
            <a:solidFill>
              <a:srgbClr val="00A6D4"/>
            </a:solidFill>
          </a:endParaRPr>
        </a:p>
      </dgm:t>
    </dgm:pt>
    <dgm:pt modelId="{9CE5E9EA-05A8-5742-8BA0-A73B48421A11}" type="parTrans" cxnId="{832DF937-DD8A-8744-AB7D-23188D75DC50}">
      <dgm:prSet/>
      <dgm:spPr/>
      <dgm:t>
        <a:bodyPr/>
        <a:lstStyle/>
        <a:p>
          <a:endParaRPr lang="en-GB"/>
        </a:p>
      </dgm:t>
    </dgm:pt>
    <dgm:pt modelId="{E31B3FE9-9927-F345-8E41-091745C592C3}" type="sibTrans" cxnId="{832DF937-DD8A-8744-AB7D-23188D75DC50}">
      <dgm:prSet/>
      <dgm:spPr/>
      <dgm:t>
        <a:bodyPr/>
        <a:lstStyle/>
        <a:p>
          <a:endParaRPr lang="en-GB"/>
        </a:p>
      </dgm:t>
    </dgm:pt>
    <dgm:pt modelId="{82FF3524-5611-E244-B99B-0A3B75E754A9}" type="pres">
      <dgm:prSet presAssocID="{1F37D4EB-57D2-804D-AB49-F241A71F6A02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en-GB"/>
        </a:p>
      </dgm:t>
    </dgm:pt>
    <dgm:pt modelId="{27E6662A-B17C-B841-8283-38135AC8EDE2}" type="pres">
      <dgm:prSet presAssocID="{A6E6345E-B68D-AC40-819A-03C492AB2D48}" presName="composite" presStyleCnt="0"/>
      <dgm:spPr/>
    </dgm:pt>
    <dgm:pt modelId="{8169CC8C-92E9-5149-96DF-DFD3744A3443}" type="pres">
      <dgm:prSet presAssocID="{A6E6345E-B68D-AC40-819A-03C492AB2D48}" presName="bentUpArrow1" presStyleLbl="alignImgPlace1" presStyleIdx="0" presStyleCnt="2"/>
      <dgm:spPr>
        <a:ln>
          <a:solidFill>
            <a:srgbClr val="7030A0"/>
          </a:solidFill>
        </a:ln>
      </dgm:spPr>
    </dgm:pt>
    <dgm:pt modelId="{9AC562C3-E8A2-8B42-A9D7-3BB9DBFEBBDF}" type="pres">
      <dgm:prSet presAssocID="{A6E6345E-B68D-AC40-819A-03C492AB2D48}" presName="ParentText" presStyleLbl="node1" presStyleIdx="0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C936F26-E59C-4B48-B7B6-2FDF242AF599}" type="pres">
      <dgm:prSet presAssocID="{A6E6345E-B68D-AC40-819A-03C492AB2D48}" presName="ChildText" presStyleLbl="revTx" presStyleIdx="0" presStyleCnt="3" custScaleX="288258" custLinFactNeighborX="93370" custLinFactNeighborY="113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DAA1199-979D-154E-B52E-C5D45550FD45}" type="pres">
      <dgm:prSet presAssocID="{E12CA100-C166-6241-BB90-51721BBDB07C}" presName="sibTrans" presStyleCnt="0"/>
      <dgm:spPr/>
    </dgm:pt>
    <dgm:pt modelId="{FF720D5C-985A-D946-8851-143F7B66B219}" type="pres">
      <dgm:prSet presAssocID="{D55B87C9-C855-F94B-8560-6DD16B31A7D6}" presName="composite" presStyleCnt="0"/>
      <dgm:spPr/>
    </dgm:pt>
    <dgm:pt modelId="{E51ECFA0-AD87-9B40-91CF-A964B9AE887D}" type="pres">
      <dgm:prSet presAssocID="{D55B87C9-C855-F94B-8560-6DD16B31A7D6}" presName="bentUpArrow1" presStyleLbl="alignImgPlace1" presStyleIdx="1" presStyleCnt="2"/>
      <dgm:spPr>
        <a:ln>
          <a:solidFill>
            <a:srgbClr val="7030A0"/>
          </a:solidFill>
        </a:ln>
      </dgm:spPr>
    </dgm:pt>
    <dgm:pt modelId="{596743A4-C2A0-314B-9AE5-AF1FE3BB310E}" type="pres">
      <dgm:prSet presAssocID="{D55B87C9-C855-F94B-8560-6DD16B31A7D6}" presName="ParentText" presStyleLbl="node1" presStyleIdx="1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B80B5AC4-7DDE-7C49-9B18-89FB90561642}" type="pres">
      <dgm:prSet presAssocID="{D55B87C9-C855-F94B-8560-6DD16B31A7D6}" presName="ChildText" presStyleLbl="revTx" presStyleIdx="1" presStyleCnt="3" custScaleX="280023" custScaleY="140850" custLinFactX="2740" custLinFactNeighborX="100000" custLinFactNeighborY="419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AE7C7969-B4C0-6D4F-A12C-DE8D20F823C9}" type="pres">
      <dgm:prSet presAssocID="{0F913F34-622F-7149-8CC0-EE33F1E685BF}" presName="sibTrans" presStyleCnt="0"/>
      <dgm:spPr/>
    </dgm:pt>
    <dgm:pt modelId="{70F97E5C-742E-3541-8AAA-56140EF1CBB3}" type="pres">
      <dgm:prSet presAssocID="{655D17D9-82EA-924E-B982-C2C5AAEEB4B8}" presName="composite" presStyleCnt="0"/>
      <dgm:spPr/>
    </dgm:pt>
    <dgm:pt modelId="{4420A943-739B-3446-83CF-4CC9150554EF}" type="pres">
      <dgm:prSet presAssocID="{655D17D9-82EA-924E-B982-C2C5AAEEB4B8}" presName="ParentText" presStyleLbl="node1" presStyleIdx="2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3BD71708-21AD-D649-83DC-5893F5198296}" type="pres">
      <dgm:prSet presAssocID="{655D17D9-82EA-924E-B982-C2C5AAEEB4B8}" presName="FinalChildText" presStyleLbl="revTx" presStyleIdx="2" presStyleCnt="3" custScaleX="138915" custLinFactNeighborX="22997" custLinFactNeighborY="415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9FBB2A5D-F5E9-444B-8D51-1F7841259F90}" type="presOf" srcId="{310119BA-7FB4-8648-8DD8-150EDF661E16}" destId="{3BD71708-21AD-D649-83DC-5893F5198296}" srcOrd="0" destOrd="0" presId="urn:microsoft.com/office/officeart/2005/8/layout/StepDownProcess"/>
    <dgm:cxn modelId="{4733EC1C-0719-534A-A737-8ABB5F393AE1}" srcId="{1F37D4EB-57D2-804D-AB49-F241A71F6A02}" destId="{A6E6345E-B68D-AC40-819A-03C492AB2D48}" srcOrd="0" destOrd="0" parTransId="{B8F4DB77-96BA-934A-B390-B590B68204E2}" sibTransId="{E12CA100-C166-6241-BB90-51721BBDB07C}"/>
    <dgm:cxn modelId="{5F43E56B-E315-2D45-B568-4D87A6AF8AE3}" type="presOf" srcId="{640DB307-6680-9649-9467-354447C3044F}" destId="{B80B5AC4-7DDE-7C49-9B18-89FB90561642}" srcOrd="0" destOrd="1" presId="urn:microsoft.com/office/officeart/2005/8/layout/StepDownProcess"/>
    <dgm:cxn modelId="{B8BCAA87-2724-784D-BCCE-9275833762A6}" srcId="{A6E6345E-B68D-AC40-819A-03C492AB2D48}" destId="{1E5B15D3-DAEC-C14E-976C-CAFBCA928049}" srcOrd="0" destOrd="0" parTransId="{5647901F-7A1A-FB47-BCC6-68F791B28786}" sibTransId="{B2F920E3-8756-464E-8145-607939EDE9B0}"/>
    <dgm:cxn modelId="{24F71A68-267E-8A4C-B798-C33C41760701}" type="presOf" srcId="{A6E6345E-B68D-AC40-819A-03C492AB2D48}" destId="{9AC562C3-E8A2-8B42-A9D7-3BB9DBFEBBDF}" srcOrd="0" destOrd="0" presId="urn:microsoft.com/office/officeart/2005/8/layout/StepDownProcess"/>
    <dgm:cxn modelId="{65EB622A-B365-6242-B0B7-07D02B6DA6C0}" type="presOf" srcId="{D55B87C9-C855-F94B-8560-6DD16B31A7D6}" destId="{596743A4-C2A0-314B-9AE5-AF1FE3BB310E}" srcOrd="0" destOrd="0" presId="urn:microsoft.com/office/officeart/2005/8/layout/StepDownProcess"/>
    <dgm:cxn modelId="{6E587865-CA11-4D4A-91A5-5C7F55F9BC43}" type="presOf" srcId="{1E5B15D3-DAEC-C14E-976C-CAFBCA928049}" destId="{9C936F26-E59C-4B48-B7B6-2FDF242AF599}" srcOrd="0" destOrd="0" presId="urn:microsoft.com/office/officeart/2005/8/layout/StepDownProcess"/>
    <dgm:cxn modelId="{832DF937-DD8A-8744-AB7D-23188D75DC50}" srcId="{D55B87C9-C855-F94B-8560-6DD16B31A7D6}" destId="{640DB307-6680-9649-9467-354447C3044F}" srcOrd="1" destOrd="0" parTransId="{9CE5E9EA-05A8-5742-8BA0-A73B48421A11}" sibTransId="{E31B3FE9-9927-F345-8E41-091745C592C3}"/>
    <dgm:cxn modelId="{BE102E18-B648-584D-9D83-319D2ABFA9F2}" srcId="{655D17D9-82EA-924E-B982-C2C5AAEEB4B8}" destId="{310119BA-7FB4-8648-8DD8-150EDF661E16}" srcOrd="0" destOrd="0" parTransId="{D49BDAF6-D96F-CF4D-985E-76D9D6453E0B}" sibTransId="{5D5C8674-52FF-874C-AD8C-CEAD38849D39}"/>
    <dgm:cxn modelId="{FB0C942D-ACD8-0748-9D42-CB45EBF23417}" srcId="{1F37D4EB-57D2-804D-AB49-F241A71F6A02}" destId="{655D17D9-82EA-924E-B982-C2C5AAEEB4B8}" srcOrd="2" destOrd="0" parTransId="{080064AD-69A0-EE45-88E4-768AB61595A7}" sibTransId="{1EAC69CC-1DE8-A648-BFE4-2BB3265A2093}"/>
    <dgm:cxn modelId="{C17C3CA2-75BA-C044-A56D-E7235C2436EB}" type="presOf" srcId="{1BAF1C97-C18E-F743-A71E-35BE0C2DCCE6}" destId="{B80B5AC4-7DDE-7C49-9B18-89FB90561642}" srcOrd="0" destOrd="2" presId="urn:microsoft.com/office/officeart/2005/8/layout/StepDownProcess"/>
    <dgm:cxn modelId="{565DB40F-2F8B-6F49-96D5-0B013AC595E5}" type="presOf" srcId="{655D17D9-82EA-924E-B982-C2C5AAEEB4B8}" destId="{4420A943-739B-3446-83CF-4CC9150554EF}" srcOrd="0" destOrd="0" presId="urn:microsoft.com/office/officeart/2005/8/layout/StepDownProcess"/>
    <dgm:cxn modelId="{052789E6-1E0A-654F-AF4E-36050B4F10C1}" srcId="{D55B87C9-C855-F94B-8560-6DD16B31A7D6}" destId="{DAB229BF-07DD-C046-AF2C-D8206F781528}" srcOrd="0" destOrd="0" parTransId="{A9DC410B-56F7-7144-808B-DE0D920EC42A}" sibTransId="{EFDD6BAE-D813-8146-86C3-B8E4A48F6FB0}"/>
    <dgm:cxn modelId="{66742219-E2C6-0F47-8D62-80C8DFEE8669}" type="presOf" srcId="{1F37D4EB-57D2-804D-AB49-F241A71F6A02}" destId="{82FF3524-5611-E244-B99B-0A3B75E754A9}" srcOrd="0" destOrd="0" presId="urn:microsoft.com/office/officeart/2005/8/layout/StepDownProcess"/>
    <dgm:cxn modelId="{25FAD260-309A-1D45-83B5-A1E4812C890F}" srcId="{D55B87C9-C855-F94B-8560-6DD16B31A7D6}" destId="{1BAF1C97-C18E-F743-A71E-35BE0C2DCCE6}" srcOrd="2" destOrd="0" parTransId="{F3D92550-6A19-A246-A1F6-EEE053CB57BF}" sibTransId="{7DE3F21C-AC92-0444-8F15-E9FBCEADD9E5}"/>
    <dgm:cxn modelId="{B6EB53F9-9C67-6E43-A2BC-48A9D152172B}" srcId="{1F37D4EB-57D2-804D-AB49-F241A71F6A02}" destId="{D55B87C9-C855-F94B-8560-6DD16B31A7D6}" srcOrd="1" destOrd="0" parTransId="{DF74A6CE-D003-994A-977A-01120A36463B}" sibTransId="{0F913F34-622F-7149-8CC0-EE33F1E685BF}"/>
    <dgm:cxn modelId="{0A00C581-1727-1248-8AAD-750B497FC303}" type="presOf" srcId="{DAB229BF-07DD-C046-AF2C-D8206F781528}" destId="{B80B5AC4-7DDE-7C49-9B18-89FB90561642}" srcOrd="0" destOrd="0" presId="urn:microsoft.com/office/officeart/2005/8/layout/StepDownProcess"/>
    <dgm:cxn modelId="{E508D0EA-60FF-6F46-AFFB-3F10E68CD1FD}" type="presParOf" srcId="{82FF3524-5611-E244-B99B-0A3B75E754A9}" destId="{27E6662A-B17C-B841-8283-38135AC8EDE2}" srcOrd="0" destOrd="0" presId="urn:microsoft.com/office/officeart/2005/8/layout/StepDownProcess"/>
    <dgm:cxn modelId="{AE70EB03-D574-F342-B4AA-9F257BE2B50D}" type="presParOf" srcId="{27E6662A-B17C-B841-8283-38135AC8EDE2}" destId="{8169CC8C-92E9-5149-96DF-DFD3744A3443}" srcOrd="0" destOrd="0" presId="urn:microsoft.com/office/officeart/2005/8/layout/StepDownProcess"/>
    <dgm:cxn modelId="{6B866B68-DE69-F74E-81FD-5DA8055DC1FE}" type="presParOf" srcId="{27E6662A-B17C-B841-8283-38135AC8EDE2}" destId="{9AC562C3-E8A2-8B42-A9D7-3BB9DBFEBBDF}" srcOrd="1" destOrd="0" presId="urn:microsoft.com/office/officeart/2005/8/layout/StepDownProcess"/>
    <dgm:cxn modelId="{19DBB111-8EA0-B341-BEB0-3D027B68EC2E}" type="presParOf" srcId="{27E6662A-B17C-B841-8283-38135AC8EDE2}" destId="{9C936F26-E59C-4B48-B7B6-2FDF242AF599}" srcOrd="2" destOrd="0" presId="urn:microsoft.com/office/officeart/2005/8/layout/StepDownProcess"/>
    <dgm:cxn modelId="{645BA370-B9FC-AC4A-B17F-7E42EF287115}" type="presParOf" srcId="{82FF3524-5611-E244-B99B-0A3B75E754A9}" destId="{9DAA1199-979D-154E-B52E-C5D45550FD45}" srcOrd="1" destOrd="0" presId="urn:microsoft.com/office/officeart/2005/8/layout/StepDownProcess"/>
    <dgm:cxn modelId="{8C18BA65-C3F0-B849-B909-3025CCD8BEC2}" type="presParOf" srcId="{82FF3524-5611-E244-B99B-0A3B75E754A9}" destId="{FF720D5C-985A-D946-8851-143F7B66B219}" srcOrd="2" destOrd="0" presId="urn:microsoft.com/office/officeart/2005/8/layout/StepDownProcess"/>
    <dgm:cxn modelId="{04A4E29D-CFD9-4E43-A34D-7FF6B82CCE06}" type="presParOf" srcId="{FF720D5C-985A-D946-8851-143F7B66B219}" destId="{E51ECFA0-AD87-9B40-91CF-A964B9AE887D}" srcOrd="0" destOrd="0" presId="urn:microsoft.com/office/officeart/2005/8/layout/StepDownProcess"/>
    <dgm:cxn modelId="{8742045A-7CB7-5548-92A9-A8DD77ABCBAE}" type="presParOf" srcId="{FF720D5C-985A-D946-8851-143F7B66B219}" destId="{596743A4-C2A0-314B-9AE5-AF1FE3BB310E}" srcOrd="1" destOrd="0" presId="urn:microsoft.com/office/officeart/2005/8/layout/StepDownProcess"/>
    <dgm:cxn modelId="{EE42D857-A7C2-DA42-A3AD-ACB35C9661EE}" type="presParOf" srcId="{FF720D5C-985A-D946-8851-143F7B66B219}" destId="{B80B5AC4-7DDE-7C49-9B18-89FB90561642}" srcOrd="2" destOrd="0" presId="urn:microsoft.com/office/officeart/2005/8/layout/StepDownProcess"/>
    <dgm:cxn modelId="{47185C5D-3FB8-BF4B-880A-FDFDD1D5CD7F}" type="presParOf" srcId="{82FF3524-5611-E244-B99B-0A3B75E754A9}" destId="{AE7C7969-B4C0-6D4F-A12C-DE8D20F823C9}" srcOrd="3" destOrd="0" presId="urn:microsoft.com/office/officeart/2005/8/layout/StepDownProcess"/>
    <dgm:cxn modelId="{F8D0AB02-ACCC-A14E-8489-F1F55B9489CB}" type="presParOf" srcId="{82FF3524-5611-E244-B99B-0A3B75E754A9}" destId="{70F97E5C-742E-3541-8AAA-56140EF1CBB3}" srcOrd="4" destOrd="0" presId="urn:microsoft.com/office/officeart/2005/8/layout/StepDownProcess"/>
    <dgm:cxn modelId="{6D075B86-4AF7-3940-9CCF-7868BFC9247B}" type="presParOf" srcId="{70F97E5C-742E-3541-8AAA-56140EF1CBB3}" destId="{4420A943-739B-3446-83CF-4CC9150554EF}" srcOrd="0" destOrd="0" presId="urn:microsoft.com/office/officeart/2005/8/layout/StepDownProcess"/>
    <dgm:cxn modelId="{D8B8FE7F-B585-F540-9761-1D79BEA0B7F2}" type="presParOf" srcId="{70F97E5C-742E-3541-8AAA-56140EF1CBB3}" destId="{3BD71708-21AD-D649-83DC-5893F5198296}" srcOrd="1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1F37D4EB-57D2-804D-AB49-F241A71F6A02}" type="doc">
      <dgm:prSet loTypeId="urn:microsoft.com/office/officeart/2005/8/layout/StepDownProcess" loCatId="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GB"/>
        </a:p>
      </dgm:t>
    </dgm:pt>
    <dgm:pt modelId="{A6E6345E-B68D-AC40-819A-03C492AB2D48}">
      <dgm:prSet phldrT="[Text]"/>
      <dgm:spPr>
        <a:ln>
          <a:solidFill>
            <a:srgbClr val="7030A0"/>
          </a:solidFill>
        </a:ln>
      </dgm:spPr>
      <dgm:t>
        <a:bodyPr/>
        <a:lstStyle/>
        <a:p>
          <a:r>
            <a:rPr lang="en-GB" dirty="0" smtClean="0"/>
            <a:t>Admission</a:t>
          </a:r>
          <a:endParaRPr lang="en-GB" dirty="0"/>
        </a:p>
      </dgm:t>
    </dgm:pt>
    <dgm:pt modelId="{B8F4DB77-96BA-934A-B390-B590B68204E2}" type="parTrans" cxnId="{4733EC1C-0719-534A-A737-8ABB5F393AE1}">
      <dgm:prSet/>
      <dgm:spPr/>
      <dgm:t>
        <a:bodyPr/>
        <a:lstStyle/>
        <a:p>
          <a:endParaRPr lang="en-GB"/>
        </a:p>
      </dgm:t>
    </dgm:pt>
    <dgm:pt modelId="{E12CA100-C166-6241-BB90-51721BBDB07C}" type="sibTrans" cxnId="{4733EC1C-0719-534A-A737-8ABB5F393AE1}">
      <dgm:prSet/>
      <dgm:spPr/>
      <dgm:t>
        <a:bodyPr/>
        <a:lstStyle/>
        <a:p>
          <a:endParaRPr lang="en-GB"/>
        </a:p>
      </dgm:t>
    </dgm:pt>
    <dgm:pt modelId="{1E5B15D3-DAEC-C14E-976C-CAFBCA928049}">
      <dgm:prSet phldrT="[Text]" custT="1"/>
      <dgm:spPr/>
      <dgm:t>
        <a:bodyPr/>
        <a:lstStyle/>
        <a:p>
          <a:r>
            <a:rPr lang="en-GB" sz="2400" dirty="0" smtClean="0">
              <a:solidFill>
                <a:srgbClr val="00A6D4"/>
              </a:solidFill>
            </a:rPr>
            <a:t>Medicines reconciliation</a:t>
          </a:r>
          <a:endParaRPr lang="en-GB" sz="2400" dirty="0">
            <a:solidFill>
              <a:srgbClr val="00A6D4"/>
            </a:solidFill>
          </a:endParaRPr>
        </a:p>
      </dgm:t>
    </dgm:pt>
    <dgm:pt modelId="{5647901F-7A1A-FB47-BCC6-68F791B28786}" type="parTrans" cxnId="{B8BCAA87-2724-784D-BCCE-9275833762A6}">
      <dgm:prSet/>
      <dgm:spPr/>
      <dgm:t>
        <a:bodyPr/>
        <a:lstStyle/>
        <a:p>
          <a:endParaRPr lang="en-GB"/>
        </a:p>
      </dgm:t>
    </dgm:pt>
    <dgm:pt modelId="{B2F920E3-8756-464E-8145-607939EDE9B0}" type="sibTrans" cxnId="{B8BCAA87-2724-784D-BCCE-9275833762A6}">
      <dgm:prSet/>
      <dgm:spPr/>
      <dgm:t>
        <a:bodyPr/>
        <a:lstStyle/>
        <a:p>
          <a:endParaRPr lang="en-GB"/>
        </a:p>
      </dgm:t>
    </dgm:pt>
    <dgm:pt modelId="{D55B87C9-C855-F94B-8560-6DD16B31A7D6}">
      <dgm:prSet phldrT="[Text]"/>
      <dgm:spPr>
        <a:ln>
          <a:solidFill>
            <a:srgbClr val="7030A0"/>
          </a:solidFill>
        </a:ln>
      </dgm:spPr>
      <dgm:t>
        <a:bodyPr/>
        <a:lstStyle/>
        <a:p>
          <a:r>
            <a:rPr lang="en-GB" dirty="0" smtClean="0"/>
            <a:t>Stay </a:t>
          </a:r>
          <a:endParaRPr lang="en-GB" dirty="0"/>
        </a:p>
      </dgm:t>
    </dgm:pt>
    <dgm:pt modelId="{DF74A6CE-D003-994A-977A-01120A36463B}" type="parTrans" cxnId="{B6EB53F9-9C67-6E43-A2BC-48A9D152172B}">
      <dgm:prSet/>
      <dgm:spPr/>
      <dgm:t>
        <a:bodyPr/>
        <a:lstStyle/>
        <a:p>
          <a:endParaRPr lang="en-GB"/>
        </a:p>
      </dgm:t>
    </dgm:pt>
    <dgm:pt modelId="{0F913F34-622F-7149-8CC0-EE33F1E685BF}" type="sibTrans" cxnId="{B6EB53F9-9C67-6E43-A2BC-48A9D152172B}">
      <dgm:prSet/>
      <dgm:spPr/>
      <dgm:t>
        <a:bodyPr/>
        <a:lstStyle/>
        <a:p>
          <a:endParaRPr lang="en-GB"/>
        </a:p>
      </dgm:t>
    </dgm:pt>
    <dgm:pt modelId="{DAB229BF-07DD-C046-AF2C-D8206F781528}">
      <dgm:prSet phldrT="[Text]" custT="1"/>
      <dgm:spPr/>
      <dgm:t>
        <a:bodyPr/>
        <a:lstStyle/>
        <a:p>
          <a:r>
            <a:rPr lang="en-GB" sz="2400" dirty="0" smtClean="0">
              <a:solidFill>
                <a:srgbClr val="00A6D4"/>
              </a:solidFill>
            </a:rPr>
            <a:t>Medicines optimisation</a:t>
          </a:r>
          <a:endParaRPr lang="en-GB" sz="2400" dirty="0">
            <a:solidFill>
              <a:srgbClr val="00A6D4"/>
            </a:solidFill>
          </a:endParaRPr>
        </a:p>
      </dgm:t>
    </dgm:pt>
    <dgm:pt modelId="{A9DC410B-56F7-7144-808B-DE0D920EC42A}" type="parTrans" cxnId="{052789E6-1E0A-654F-AF4E-36050B4F10C1}">
      <dgm:prSet/>
      <dgm:spPr/>
      <dgm:t>
        <a:bodyPr/>
        <a:lstStyle/>
        <a:p>
          <a:endParaRPr lang="en-GB"/>
        </a:p>
      </dgm:t>
    </dgm:pt>
    <dgm:pt modelId="{EFDD6BAE-D813-8146-86C3-B8E4A48F6FB0}" type="sibTrans" cxnId="{052789E6-1E0A-654F-AF4E-36050B4F10C1}">
      <dgm:prSet/>
      <dgm:spPr/>
      <dgm:t>
        <a:bodyPr/>
        <a:lstStyle/>
        <a:p>
          <a:endParaRPr lang="en-GB"/>
        </a:p>
      </dgm:t>
    </dgm:pt>
    <dgm:pt modelId="{655D17D9-82EA-924E-B982-C2C5AAEEB4B8}">
      <dgm:prSet phldrT="[Text]"/>
      <dgm:spPr>
        <a:ln>
          <a:solidFill>
            <a:srgbClr val="7030A0"/>
          </a:solidFill>
        </a:ln>
      </dgm:spPr>
      <dgm:t>
        <a:bodyPr/>
        <a:lstStyle/>
        <a:p>
          <a:r>
            <a:rPr lang="en-GB" dirty="0" smtClean="0"/>
            <a:t>Discharge </a:t>
          </a:r>
          <a:endParaRPr lang="en-GB" dirty="0"/>
        </a:p>
      </dgm:t>
    </dgm:pt>
    <dgm:pt modelId="{080064AD-69A0-EE45-88E4-768AB61595A7}" type="parTrans" cxnId="{FB0C942D-ACD8-0748-9D42-CB45EBF23417}">
      <dgm:prSet/>
      <dgm:spPr/>
      <dgm:t>
        <a:bodyPr/>
        <a:lstStyle/>
        <a:p>
          <a:endParaRPr lang="en-GB"/>
        </a:p>
      </dgm:t>
    </dgm:pt>
    <dgm:pt modelId="{1EAC69CC-1DE8-A648-BFE4-2BB3265A2093}" type="sibTrans" cxnId="{FB0C942D-ACD8-0748-9D42-CB45EBF23417}">
      <dgm:prSet/>
      <dgm:spPr/>
      <dgm:t>
        <a:bodyPr/>
        <a:lstStyle/>
        <a:p>
          <a:endParaRPr lang="en-GB"/>
        </a:p>
      </dgm:t>
    </dgm:pt>
    <dgm:pt modelId="{310119BA-7FB4-8648-8DD8-150EDF661E16}">
      <dgm:prSet phldrT="[Text]" custT="1"/>
      <dgm:spPr/>
      <dgm:t>
        <a:bodyPr/>
        <a:lstStyle/>
        <a:p>
          <a:r>
            <a:rPr lang="en-GB" sz="2400" dirty="0" smtClean="0">
              <a:solidFill>
                <a:srgbClr val="00A6D4"/>
              </a:solidFill>
            </a:rPr>
            <a:t>Medicines review</a:t>
          </a:r>
          <a:endParaRPr lang="en-GB" sz="2400" dirty="0">
            <a:solidFill>
              <a:srgbClr val="00A6D4"/>
            </a:solidFill>
          </a:endParaRPr>
        </a:p>
      </dgm:t>
    </dgm:pt>
    <dgm:pt modelId="{D49BDAF6-D96F-CF4D-985E-76D9D6453E0B}" type="parTrans" cxnId="{BE102E18-B648-584D-9D83-319D2ABFA9F2}">
      <dgm:prSet/>
      <dgm:spPr/>
      <dgm:t>
        <a:bodyPr/>
        <a:lstStyle/>
        <a:p>
          <a:endParaRPr lang="en-GB"/>
        </a:p>
      </dgm:t>
    </dgm:pt>
    <dgm:pt modelId="{5D5C8674-52FF-874C-AD8C-CEAD38849D39}" type="sibTrans" cxnId="{BE102E18-B648-584D-9D83-319D2ABFA9F2}">
      <dgm:prSet/>
      <dgm:spPr/>
      <dgm:t>
        <a:bodyPr/>
        <a:lstStyle/>
        <a:p>
          <a:endParaRPr lang="en-GB"/>
        </a:p>
      </dgm:t>
    </dgm:pt>
    <dgm:pt modelId="{1BAF1C97-C18E-F743-A71E-35BE0C2DCCE6}">
      <dgm:prSet phldrT="[Text]" custT="1"/>
      <dgm:spPr/>
      <dgm:t>
        <a:bodyPr/>
        <a:lstStyle/>
        <a:p>
          <a:r>
            <a:rPr lang="en-GB" sz="2400" dirty="0" smtClean="0">
              <a:solidFill>
                <a:srgbClr val="00A6D4"/>
              </a:solidFill>
            </a:rPr>
            <a:t>Safety </a:t>
          </a:r>
          <a:endParaRPr lang="en-GB" sz="2400" dirty="0">
            <a:solidFill>
              <a:srgbClr val="00A6D4"/>
            </a:solidFill>
          </a:endParaRPr>
        </a:p>
      </dgm:t>
    </dgm:pt>
    <dgm:pt modelId="{F3D92550-6A19-A246-A1F6-EEE053CB57BF}" type="parTrans" cxnId="{25FAD260-309A-1D45-83B5-A1E4812C890F}">
      <dgm:prSet/>
      <dgm:spPr/>
      <dgm:t>
        <a:bodyPr/>
        <a:lstStyle/>
        <a:p>
          <a:endParaRPr lang="en-GB"/>
        </a:p>
      </dgm:t>
    </dgm:pt>
    <dgm:pt modelId="{7DE3F21C-AC92-0444-8F15-E9FBCEADD9E5}" type="sibTrans" cxnId="{25FAD260-309A-1D45-83B5-A1E4812C890F}">
      <dgm:prSet/>
      <dgm:spPr/>
      <dgm:t>
        <a:bodyPr/>
        <a:lstStyle/>
        <a:p>
          <a:endParaRPr lang="en-GB"/>
        </a:p>
      </dgm:t>
    </dgm:pt>
    <dgm:pt modelId="{640DB307-6680-9649-9467-354447C3044F}">
      <dgm:prSet phldrT="[Text]" custT="1"/>
      <dgm:spPr/>
      <dgm:t>
        <a:bodyPr/>
        <a:lstStyle/>
        <a:p>
          <a:r>
            <a:rPr lang="en-GB" sz="2400" dirty="0" smtClean="0"/>
            <a:t>Prescribing</a:t>
          </a:r>
          <a:endParaRPr lang="en-GB" sz="2400" dirty="0"/>
        </a:p>
      </dgm:t>
    </dgm:pt>
    <dgm:pt modelId="{9CE5E9EA-05A8-5742-8BA0-A73B48421A11}" type="parTrans" cxnId="{832DF937-DD8A-8744-AB7D-23188D75DC50}">
      <dgm:prSet/>
      <dgm:spPr/>
      <dgm:t>
        <a:bodyPr/>
        <a:lstStyle/>
        <a:p>
          <a:endParaRPr lang="en-GB"/>
        </a:p>
      </dgm:t>
    </dgm:pt>
    <dgm:pt modelId="{E31B3FE9-9927-F345-8E41-091745C592C3}" type="sibTrans" cxnId="{832DF937-DD8A-8744-AB7D-23188D75DC50}">
      <dgm:prSet/>
      <dgm:spPr/>
      <dgm:t>
        <a:bodyPr/>
        <a:lstStyle/>
        <a:p>
          <a:endParaRPr lang="en-GB"/>
        </a:p>
      </dgm:t>
    </dgm:pt>
    <dgm:pt modelId="{82FF3524-5611-E244-B99B-0A3B75E754A9}" type="pres">
      <dgm:prSet presAssocID="{1F37D4EB-57D2-804D-AB49-F241A71F6A02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en-GB"/>
        </a:p>
      </dgm:t>
    </dgm:pt>
    <dgm:pt modelId="{27E6662A-B17C-B841-8283-38135AC8EDE2}" type="pres">
      <dgm:prSet presAssocID="{A6E6345E-B68D-AC40-819A-03C492AB2D48}" presName="composite" presStyleCnt="0"/>
      <dgm:spPr/>
    </dgm:pt>
    <dgm:pt modelId="{8169CC8C-92E9-5149-96DF-DFD3744A3443}" type="pres">
      <dgm:prSet presAssocID="{A6E6345E-B68D-AC40-819A-03C492AB2D48}" presName="bentUpArrow1" presStyleLbl="alignImgPlace1" presStyleIdx="0" presStyleCnt="2"/>
      <dgm:spPr>
        <a:ln>
          <a:solidFill>
            <a:srgbClr val="7030A0"/>
          </a:solidFill>
        </a:ln>
      </dgm:spPr>
    </dgm:pt>
    <dgm:pt modelId="{9AC562C3-E8A2-8B42-A9D7-3BB9DBFEBBDF}" type="pres">
      <dgm:prSet presAssocID="{A6E6345E-B68D-AC40-819A-03C492AB2D48}" presName="ParentText" presStyleLbl="node1" presStyleIdx="0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C936F26-E59C-4B48-B7B6-2FDF242AF599}" type="pres">
      <dgm:prSet presAssocID="{A6E6345E-B68D-AC40-819A-03C492AB2D48}" presName="ChildText" presStyleLbl="revTx" presStyleIdx="0" presStyleCnt="3" custScaleX="288258" custLinFactNeighborX="93370" custLinFactNeighborY="113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DAA1199-979D-154E-B52E-C5D45550FD45}" type="pres">
      <dgm:prSet presAssocID="{E12CA100-C166-6241-BB90-51721BBDB07C}" presName="sibTrans" presStyleCnt="0"/>
      <dgm:spPr/>
    </dgm:pt>
    <dgm:pt modelId="{FF720D5C-985A-D946-8851-143F7B66B219}" type="pres">
      <dgm:prSet presAssocID="{D55B87C9-C855-F94B-8560-6DD16B31A7D6}" presName="composite" presStyleCnt="0"/>
      <dgm:spPr/>
    </dgm:pt>
    <dgm:pt modelId="{E51ECFA0-AD87-9B40-91CF-A964B9AE887D}" type="pres">
      <dgm:prSet presAssocID="{D55B87C9-C855-F94B-8560-6DD16B31A7D6}" presName="bentUpArrow1" presStyleLbl="alignImgPlace1" presStyleIdx="1" presStyleCnt="2"/>
      <dgm:spPr>
        <a:ln>
          <a:solidFill>
            <a:srgbClr val="7030A0"/>
          </a:solidFill>
        </a:ln>
      </dgm:spPr>
    </dgm:pt>
    <dgm:pt modelId="{596743A4-C2A0-314B-9AE5-AF1FE3BB310E}" type="pres">
      <dgm:prSet presAssocID="{D55B87C9-C855-F94B-8560-6DD16B31A7D6}" presName="ParentText" presStyleLbl="node1" presStyleIdx="1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B80B5AC4-7DDE-7C49-9B18-89FB90561642}" type="pres">
      <dgm:prSet presAssocID="{D55B87C9-C855-F94B-8560-6DD16B31A7D6}" presName="ChildText" presStyleLbl="revTx" presStyleIdx="1" presStyleCnt="3" custScaleX="280023" custScaleY="140850" custLinFactX="2740" custLinFactNeighborX="100000" custLinFactNeighborY="419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AE7C7969-B4C0-6D4F-A12C-DE8D20F823C9}" type="pres">
      <dgm:prSet presAssocID="{0F913F34-622F-7149-8CC0-EE33F1E685BF}" presName="sibTrans" presStyleCnt="0"/>
      <dgm:spPr/>
    </dgm:pt>
    <dgm:pt modelId="{70F97E5C-742E-3541-8AAA-56140EF1CBB3}" type="pres">
      <dgm:prSet presAssocID="{655D17D9-82EA-924E-B982-C2C5AAEEB4B8}" presName="composite" presStyleCnt="0"/>
      <dgm:spPr/>
    </dgm:pt>
    <dgm:pt modelId="{4420A943-739B-3446-83CF-4CC9150554EF}" type="pres">
      <dgm:prSet presAssocID="{655D17D9-82EA-924E-B982-C2C5AAEEB4B8}" presName="ParentText" presStyleLbl="node1" presStyleIdx="2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3BD71708-21AD-D649-83DC-5893F5198296}" type="pres">
      <dgm:prSet presAssocID="{655D17D9-82EA-924E-B982-C2C5AAEEB4B8}" presName="FinalChildText" presStyleLbl="revTx" presStyleIdx="2" presStyleCnt="3" custScaleX="138915" custLinFactNeighborX="22997" custLinFactNeighborY="415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FD92BC0C-8562-4D4F-BF2A-C886221A1E27}" type="presOf" srcId="{A6E6345E-B68D-AC40-819A-03C492AB2D48}" destId="{9AC562C3-E8A2-8B42-A9D7-3BB9DBFEBBDF}" srcOrd="0" destOrd="0" presId="urn:microsoft.com/office/officeart/2005/8/layout/StepDownProcess"/>
    <dgm:cxn modelId="{76EB0669-C839-6F44-919A-39877E1614A4}" type="presOf" srcId="{1E5B15D3-DAEC-C14E-976C-CAFBCA928049}" destId="{9C936F26-E59C-4B48-B7B6-2FDF242AF599}" srcOrd="0" destOrd="0" presId="urn:microsoft.com/office/officeart/2005/8/layout/StepDownProcess"/>
    <dgm:cxn modelId="{D790001F-D246-4E40-B016-92FA7F93FB17}" type="presOf" srcId="{DAB229BF-07DD-C046-AF2C-D8206F781528}" destId="{B80B5AC4-7DDE-7C49-9B18-89FB90561642}" srcOrd="0" destOrd="0" presId="urn:microsoft.com/office/officeart/2005/8/layout/StepDownProcess"/>
    <dgm:cxn modelId="{4733EC1C-0719-534A-A737-8ABB5F393AE1}" srcId="{1F37D4EB-57D2-804D-AB49-F241A71F6A02}" destId="{A6E6345E-B68D-AC40-819A-03C492AB2D48}" srcOrd="0" destOrd="0" parTransId="{B8F4DB77-96BA-934A-B390-B590B68204E2}" sibTransId="{E12CA100-C166-6241-BB90-51721BBDB07C}"/>
    <dgm:cxn modelId="{915A6543-2E94-C64F-BE67-F7FBD21B1D22}" type="presOf" srcId="{1BAF1C97-C18E-F743-A71E-35BE0C2DCCE6}" destId="{B80B5AC4-7DDE-7C49-9B18-89FB90561642}" srcOrd="0" destOrd="2" presId="urn:microsoft.com/office/officeart/2005/8/layout/StepDownProcess"/>
    <dgm:cxn modelId="{2DDAC56F-BB53-664E-BFE6-82291899F9F4}" type="presOf" srcId="{310119BA-7FB4-8648-8DD8-150EDF661E16}" destId="{3BD71708-21AD-D649-83DC-5893F5198296}" srcOrd="0" destOrd="0" presId="urn:microsoft.com/office/officeart/2005/8/layout/StepDownProcess"/>
    <dgm:cxn modelId="{B8BCAA87-2724-784D-BCCE-9275833762A6}" srcId="{A6E6345E-B68D-AC40-819A-03C492AB2D48}" destId="{1E5B15D3-DAEC-C14E-976C-CAFBCA928049}" srcOrd="0" destOrd="0" parTransId="{5647901F-7A1A-FB47-BCC6-68F791B28786}" sibTransId="{B2F920E3-8756-464E-8145-607939EDE9B0}"/>
    <dgm:cxn modelId="{832DF937-DD8A-8744-AB7D-23188D75DC50}" srcId="{D55B87C9-C855-F94B-8560-6DD16B31A7D6}" destId="{640DB307-6680-9649-9467-354447C3044F}" srcOrd="1" destOrd="0" parTransId="{9CE5E9EA-05A8-5742-8BA0-A73B48421A11}" sibTransId="{E31B3FE9-9927-F345-8E41-091745C592C3}"/>
    <dgm:cxn modelId="{B6CE5EF2-316C-CE48-BA30-7131B81541BB}" type="presOf" srcId="{655D17D9-82EA-924E-B982-C2C5AAEEB4B8}" destId="{4420A943-739B-3446-83CF-4CC9150554EF}" srcOrd="0" destOrd="0" presId="urn:microsoft.com/office/officeart/2005/8/layout/StepDownProcess"/>
    <dgm:cxn modelId="{BE102E18-B648-584D-9D83-319D2ABFA9F2}" srcId="{655D17D9-82EA-924E-B982-C2C5AAEEB4B8}" destId="{310119BA-7FB4-8648-8DD8-150EDF661E16}" srcOrd="0" destOrd="0" parTransId="{D49BDAF6-D96F-CF4D-985E-76D9D6453E0B}" sibTransId="{5D5C8674-52FF-874C-AD8C-CEAD38849D39}"/>
    <dgm:cxn modelId="{FB0C942D-ACD8-0748-9D42-CB45EBF23417}" srcId="{1F37D4EB-57D2-804D-AB49-F241A71F6A02}" destId="{655D17D9-82EA-924E-B982-C2C5AAEEB4B8}" srcOrd="2" destOrd="0" parTransId="{080064AD-69A0-EE45-88E4-768AB61595A7}" sibTransId="{1EAC69CC-1DE8-A648-BFE4-2BB3265A2093}"/>
    <dgm:cxn modelId="{052789E6-1E0A-654F-AF4E-36050B4F10C1}" srcId="{D55B87C9-C855-F94B-8560-6DD16B31A7D6}" destId="{DAB229BF-07DD-C046-AF2C-D8206F781528}" srcOrd="0" destOrd="0" parTransId="{A9DC410B-56F7-7144-808B-DE0D920EC42A}" sibTransId="{EFDD6BAE-D813-8146-86C3-B8E4A48F6FB0}"/>
    <dgm:cxn modelId="{5E69A506-497B-E54B-88FE-9B7DDE678BB3}" type="presOf" srcId="{D55B87C9-C855-F94B-8560-6DD16B31A7D6}" destId="{596743A4-C2A0-314B-9AE5-AF1FE3BB310E}" srcOrd="0" destOrd="0" presId="urn:microsoft.com/office/officeart/2005/8/layout/StepDownProcess"/>
    <dgm:cxn modelId="{A09BD3D7-71CA-484F-B118-EC1B2AF8F906}" type="presOf" srcId="{1F37D4EB-57D2-804D-AB49-F241A71F6A02}" destId="{82FF3524-5611-E244-B99B-0A3B75E754A9}" srcOrd="0" destOrd="0" presId="urn:microsoft.com/office/officeart/2005/8/layout/StepDownProcess"/>
    <dgm:cxn modelId="{25FAD260-309A-1D45-83B5-A1E4812C890F}" srcId="{D55B87C9-C855-F94B-8560-6DD16B31A7D6}" destId="{1BAF1C97-C18E-F743-A71E-35BE0C2DCCE6}" srcOrd="2" destOrd="0" parTransId="{F3D92550-6A19-A246-A1F6-EEE053CB57BF}" sibTransId="{7DE3F21C-AC92-0444-8F15-E9FBCEADD9E5}"/>
    <dgm:cxn modelId="{B6EB53F9-9C67-6E43-A2BC-48A9D152172B}" srcId="{1F37D4EB-57D2-804D-AB49-F241A71F6A02}" destId="{D55B87C9-C855-F94B-8560-6DD16B31A7D6}" srcOrd="1" destOrd="0" parTransId="{DF74A6CE-D003-994A-977A-01120A36463B}" sibTransId="{0F913F34-622F-7149-8CC0-EE33F1E685BF}"/>
    <dgm:cxn modelId="{9721407E-71A7-C24E-A49F-AC0616A2F72C}" type="presOf" srcId="{640DB307-6680-9649-9467-354447C3044F}" destId="{B80B5AC4-7DDE-7C49-9B18-89FB90561642}" srcOrd="0" destOrd="1" presId="urn:microsoft.com/office/officeart/2005/8/layout/StepDownProcess"/>
    <dgm:cxn modelId="{E55EDC83-D6F2-4A42-AB59-CBACE6F72D86}" type="presParOf" srcId="{82FF3524-5611-E244-B99B-0A3B75E754A9}" destId="{27E6662A-B17C-B841-8283-38135AC8EDE2}" srcOrd="0" destOrd="0" presId="urn:microsoft.com/office/officeart/2005/8/layout/StepDownProcess"/>
    <dgm:cxn modelId="{F178DD2D-4D8B-A24F-8295-7098360B8984}" type="presParOf" srcId="{27E6662A-B17C-B841-8283-38135AC8EDE2}" destId="{8169CC8C-92E9-5149-96DF-DFD3744A3443}" srcOrd="0" destOrd="0" presId="urn:microsoft.com/office/officeart/2005/8/layout/StepDownProcess"/>
    <dgm:cxn modelId="{A9C05974-96A2-2B48-8B26-A5596BAD6570}" type="presParOf" srcId="{27E6662A-B17C-B841-8283-38135AC8EDE2}" destId="{9AC562C3-E8A2-8B42-A9D7-3BB9DBFEBBDF}" srcOrd="1" destOrd="0" presId="urn:microsoft.com/office/officeart/2005/8/layout/StepDownProcess"/>
    <dgm:cxn modelId="{C469CF28-C958-5C4E-AE8A-808511D0AE68}" type="presParOf" srcId="{27E6662A-B17C-B841-8283-38135AC8EDE2}" destId="{9C936F26-E59C-4B48-B7B6-2FDF242AF599}" srcOrd="2" destOrd="0" presId="urn:microsoft.com/office/officeart/2005/8/layout/StepDownProcess"/>
    <dgm:cxn modelId="{3584C763-2AB7-E34A-B24F-368C7FC76EA8}" type="presParOf" srcId="{82FF3524-5611-E244-B99B-0A3B75E754A9}" destId="{9DAA1199-979D-154E-B52E-C5D45550FD45}" srcOrd="1" destOrd="0" presId="urn:microsoft.com/office/officeart/2005/8/layout/StepDownProcess"/>
    <dgm:cxn modelId="{A8214210-3131-CE4C-95C2-F43AFEE18BAB}" type="presParOf" srcId="{82FF3524-5611-E244-B99B-0A3B75E754A9}" destId="{FF720D5C-985A-D946-8851-143F7B66B219}" srcOrd="2" destOrd="0" presId="urn:microsoft.com/office/officeart/2005/8/layout/StepDownProcess"/>
    <dgm:cxn modelId="{F3E5B2C0-35EF-CC4E-A6C4-00139F443822}" type="presParOf" srcId="{FF720D5C-985A-D946-8851-143F7B66B219}" destId="{E51ECFA0-AD87-9B40-91CF-A964B9AE887D}" srcOrd="0" destOrd="0" presId="urn:microsoft.com/office/officeart/2005/8/layout/StepDownProcess"/>
    <dgm:cxn modelId="{013CFA1A-E4F6-B544-A869-C0733939F588}" type="presParOf" srcId="{FF720D5C-985A-D946-8851-143F7B66B219}" destId="{596743A4-C2A0-314B-9AE5-AF1FE3BB310E}" srcOrd="1" destOrd="0" presId="urn:microsoft.com/office/officeart/2005/8/layout/StepDownProcess"/>
    <dgm:cxn modelId="{920A8805-60FD-1449-A007-60BDE027634D}" type="presParOf" srcId="{FF720D5C-985A-D946-8851-143F7B66B219}" destId="{B80B5AC4-7DDE-7C49-9B18-89FB90561642}" srcOrd="2" destOrd="0" presId="urn:microsoft.com/office/officeart/2005/8/layout/StepDownProcess"/>
    <dgm:cxn modelId="{6DDE3153-0092-674C-A824-25E087EF4811}" type="presParOf" srcId="{82FF3524-5611-E244-B99B-0A3B75E754A9}" destId="{AE7C7969-B4C0-6D4F-A12C-DE8D20F823C9}" srcOrd="3" destOrd="0" presId="urn:microsoft.com/office/officeart/2005/8/layout/StepDownProcess"/>
    <dgm:cxn modelId="{1D6737E0-1B9D-264C-B921-48D1109BA83C}" type="presParOf" srcId="{82FF3524-5611-E244-B99B-0A3B75E754A9}" destId="{70F97E5C-742E-3541-8AAA-56140EF1CBB3}" srcOrd="4" destOrd="0" presId="urn:microsoft.com/office/officeart/2005/8/layout/StepDownProcess"/>
    <dgm:cxn modelId="{1D6129F1-F383-D141-B858-515EBD583031}" type="presParOf" srcId="{70F97E5C-742E-3541-8AAA-56140EF1CBB3}" destId="{4420A943-739B-3446-83CF-4CC9150554EF}" srcOrd="0" destOrd="0" presId="urn:microsoft.com/office/officeart/2005/8/layout/StepDownProcess"/>
    <dgm:cxn modelId="{295C43E8-BF06-FE4C-89CD-19D24D778624}" type="presParOf" srcId="{70F97E5C-742E-3541-8AAA-56140EF1CBB3}" destId="{3BD71708-21AD-D649-83DC-5893F5198296}" srcOrd="1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1F37D4EB-57D2-804D-AB49-F241A71F6A02}" type="doc">
      <dgm:prSet loTypeId="urn:microsoft.com/office/officeart/2005/8/layout/StepDownProcess" loCatId="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GB"/>
        </a:p>
      </dgm:t>
    </dgm:pt>
    <dgm:pt modelId="{A6E6345E-B68D-AC40-819A-03C492AB2D48}">
      <dgm:prSet phldrT="[Text]"/>
      <dgm:spPr>
        <a:ln>
          <a:solidFill>
            <a:srgbClr val="7030A0"/>
          </a:solidFill>
        </a:ln>
      </dgm:spPr>
      <dgm:t>
        <a:bodyPr/>
        <a:lstStyle/>
        <a:p>
          <a:r>
            <a:rPr lang="en-GB" dirty="0" smtClean="0"/>
            <a:t>Admission</a:t>
          </a:r>
          <a:endParaRPr lang="en-GB" dirty="0"/>
        </a:p>
      </dgm:t>
    </dgm:pt>
    <dgm:pt modelId="{B8F4DB77-96BA-934A-B390-B590B68204E2}" type="parTrans" cxnId="{4733EC1C-0719-534A-A737-8ABB5F393AE1}">
      <dgm:prSet/>
      <dgm:spPr/>
      <dgm:t>
        <a:bodyPr/>
        <a:lstStyle/>
        <a:p>
          <a:endParaRPr lang="en-GB"/>
        </a:p>
      </dgm:t>
    </dgm:pt>
    <dgm:pt modelId="{E12CA100-C166-6241-BB90-51721BBDB07C}" type="sibTrans" cxnId="{4733EC1C-0719-534A-A737-8ABB5F393AE1}">
      <dgm:prSet/>
      <dgm:spPr/>
      <dgm:t>
        <a:bodyPr/>
        <a:lstStyle/>
        <a:p>
          <a:endParaRPr lang="en-GB"/>
        </a:p>
      </dgm:t>
    </dgm:pt>
    <dgm:pt modelId="{1E5B15D3-DAEC-C14E-976C-CAFBCA928049}">
      <dgm:prSet phldrT="[Text]" custT="1"/>
      <dgm:spPr/>
      <dgm:t>
        <a:bodyPr/>
        <a:lstStyle/>
        <a:p>
          <a:r>
            <a:rPr lang="en-GB" sz="2400" dirty="0" smtClean="0">
              <a:solidFill>
                <a:srgbClr val="00A6D4"/>
              </a:solidFill>
            </a:rPr>
            <a:t>Medicines reconciliation</a:t>
          </a:r>
          <a:endParaRPr lang="en-GB" sz="2400" dirty="0">
            <a:solidFill>
              <a:srgbClr val="00A6D4"/>
            </a:solidFill>
          </a:endParaRPr>
        </a:p>
      </dgm:t>
    </dgm:pt>
    <dgm:pt modelId="{5647901F-7A1A-FB47-BCC6-68F791B28786}" type="parTrans" cxnId="{B8BCAA87-2724-784D-BCCE-9275833762A6}">
      <dgm:prSet/>
      <dgm:spPr/>
      <dgm:t>
        <a:bodyPr/>
        <a:lstStyle/>
        <a:p>
          <a:endParaRPr lang="en-GB"/>
        </a:p>
      </dgm:t>
    </dgm:pt>
    <dgm:pt modelId="{B2F920E3-8756-464E-8145-607939EDE9B0}" type="sibTrans" cxnId="{B8BCAA87-2724-784D-BCCE-9275833762A6}">
      <dgm:prSet/>
      <dgm:spPr/>
      <dgm:t>
        <a:bodyPr/>
        <a:lstStyle/>
        <a:p>
          <a:endParaRPr lang="en-GB"/>
        </a:p>
      </dgm:t>
    </dgm:pt>
    <dgm:pt modelId="{D55B87C9-C855-F94B-8560-6DD16B31A7D6}">
      <dgm:prSet phldrT="[Text]"/>
      <dgm:spPr>
        <a:ln>
          <a:solidFill>
            <a:srgbClr val="7030A0"/>
          </a:solidFill>
        </a:ln>
      </dgm:spPr>
      <dgm:t>
        <a:bodyPr/>
        <a:lstStyle/>
        <a:p>
          <a:r>
            <a:rPr lang="en-GB" dirty="0" smtClean="0"/>
            <a:t>Stay </a:t>
          </a:r>
          <a:endParaRPr lang="en-GB" dirty="0"/>
        </a:p>
      </dgm:t>
    </dgm:pt>
    <dgm:pt modelId="{DF74A6CE-D003-994A-977A-01120A36463B}" type="parTrans" cxnId="{B6EB53F9-9C67-6E43-A2BC-48A9D152172B}">
      <dgm:prSet/>
      <dgm:spPr/>
      <dgm:t>
        <a:bodyPr/>
        <a:lstStyle/>
        <a:p>
          <a:endParaRPr lang="en-GB"/>
        </a:p>
      </dgm:t>
    </dgm:pt>
    <dgm:pt modelId="{0F913F34-622F-7149-8CC0-EE33F1E685BF}" type="sibTrans" cxnId="{B6EB53F9-9C67-6E43-A2BC-48A9D152172B}">
      <dgm:prSet/>
      <dgm:spPr/>
      <dgm:t>
        <a:bodyPr/>
        <a:lstStyle/>
        <a:p>
          <a:endParaRPr lang="en-GB"/>
        </a:p>
      </dgm:t>
    </dgm:pt>
    <dgm:pt modelId="{DAB229BF-07DD-C046-AF2C-D8206F781528}">
      <dgm:prSet phldrT="[Text]" custT="1"/>
      <dgm:spPr/>
      <dgm:t>
        <a:bodyPr/>
        <a:lstStyle/>
        <a:p>
          <a:r>
            <a:rPr lang="en-GB" sz="2400" dirty="0" smtClean="0">
              <a:solidFill>
                <a:srgbClr val="00A6D4"/>
              </a:solidFill>
            </a:rPr>
            <a:t>Medicines optimisation</a:t>
          </a:r>
          <a:endParaRPr lang="en-GB" sz="2400" dirty="0">
            <a:solidFill>
              <a:srgbClr val="00A6D4"/>
            </a:solidFill>
          </a:endParaRPr>
        </a:p>
      </dgm:t>
    </dgm:pt>
    <dgm:pt modelId="{A9DC410B-56F7-7144-808B-DE0D920EC42A}" type="parTrans" cxnId="{052789E6-1E0A-654F-AF4E-36050B4F10C1}">
      <dgm:prSet/>
      <dgm:spPr/>
      <dgm:t>
        <a:bodyPr/>
        <a:lstStyle/>
        <a:p>
          <a:endParaRPr lang="en-GB"/>
        </a:p>
      </dgm:t>
    </dgm:pt>
    <dgm:pt modelId="{EFDD6BAE-D813-8146-86C3-B8E4A48F6FB0}" type="sibTrans" cxnId="{052789E6-1E0A-654F-AF4E-36050B4F10C1}">
      <dgm:prSet/>
      <dgm:spPr/>
      <dgm:t>
        <a:bodyPr/>
        <a:lstStyle/>
        <a:p>
          <a:endParaRPr lang="en-GB"/>
        </a:p>
      </dgm:t>
    </dgm:pt>
    <dgm:pt modelId="{655D17D9-82EA-924E-B982-C2C5AAEEB4B8}">
      <dgm:prSet phldrT="[Text]"/>
      <dgm:spPr>
        <a:ln>
          <a:solidFill>
            <a:srgbClr val="7030A0"/>
          </a:solidFill>
        </a:ln>
      </dgm:spPr>
      <dgm:t>
        <a:bodyPr/>
        <a:lstStyle/>
        <a:p>
          <a:r>
            <a:rPr lang="en-GB" dirty="0" smtClean="0"/>
            <a:t>Discharge </a:t>
          </a:r>
          <a:endParaRPr lang="en-GB" dirty="0"/>
        </a:p>
      </dgm:t>
    </dgm:pt>
    <dgm:pt modelId="{080064AD-69A0-EE45-88E4-768AB61595A7}" type="parTrans" cxnId="{FB0C942D-ACD8-0748-9D42-CB45EBF23417}">
      <dgm:prSet/>
      <dgm:spPr/>
      <dgm:t>
        <a:bodyPr/>
        <a:lstStyle/>
        <a:p>
          <a:endParaRPr lang="en-GB"/>
        </a:p>
      </dgm:t>
    </dgm:pt>
    <dgm:pt modelId="{1EAC69CC-1DE8-A648-BFE4-2BB3265A2093}" type="sibTrans" cxnId="{FB0C942D-ACD8-0748-9D42-CB45EBF23417}">
      <dgm:prSet/>
      <dgm:spPr/>
      <dgm:t>
        <a:bodyPr/>
        <a:lstStyle/>
        <a:p>
          <a:endParaRPr lang="en-GB"/>
        </a:p>
      </dgm:t>
    </dgm:pt>
    <dgm:pt modelId="{310119BA-7FB4-8648-8DD8-150EDF661E16}">
      <dgm:prSet phldrT="[Text]" custT="1"/>
      <dgm:spPr/>
      <dgm:t>
        <a:bodyPr/>
        <a:lstStyle/>
        <a:p>
          <a:r>
            <a:rPr lang="en-GB" sz="2400" dirty="0" smtClean="0">
              <a:solidFill>
                <a:srgbClr val="00A6D4"/>
              </a:solidFill>
            </a:rPr>
            <a:t>Medicines review</a:t>
          </a:r>
          <a:endParaRPr lang="en-GB" sz="2400" dirty="0">
            <a:solidFill>
              <a:srgbClr val="00A6D4"/>
            </a:solidFill>
          </a:endParaRPr>
        </a:p>
      </dgm:t>
    </dgm:pt>
    <dgm:pt modelId="{D49BDAF6-D96F-CF4D-985E-76D9D6453E0B}" type="parTrans" cxnId="{BE102E18-B648-584D-9D83-319D2ABFA9F2}">
      <dgm:prSet/>
      <dgm:spPr/>
      <dgm:t>
        <a:bodyPr/>
        <a:lstStyle/>
        <a:p>
          <a:endParaRPr lang="en-GB"/>
        </a:p>
      </dgm:t>
    </dgm:pt>
    <dgm:pt modelId="{5D5C8674-52FF-874C-AD8C-CEAD38849D39}" type="sibTrans" cxnId="{BE102E18-B648-584D-9D83-319D2ABFA9F2}">
      <dgm:prSet/>
      <dgm:spPr/>
      <dgm:t>
        <a:bodyPr/>
        <a:lstStyle/>
        <a:p>
          <a:endParaRPr lang="en-GB"/>
        </a:p>
      </dgm:t>
    </dgm:pt>
    <dgm:pt modelId="{1BAF1C97-C18E-F743-A71E-35BE0C2DCCE6}">
      <dgm:prSet phldrT="[Text]" custT="1"/>
      <dgm:spPr/>
      <dgm:t>
        <a:bodyPr/>
        <a:lstStyle/>
        <a:p>
          <a:r>
            <a:rPr lang="en-GB" sz="2400" dirty="0" smtClean="0"/>
            <a:t>Safety </a:t>
          </a:r>
          <a:endParaRPr lang="en-GB" sz="2400" dirty="0"/>
        </a:p>
      </dgm:t>
    </dgm:pt>
    <dgm:pt modelId="{F3D92550-6A19-A246-A1F6-EEE053CB57BF}" type="parTrans" cxnId="{25FAD260-309A-1D45-83B5-A1E4812C890F}">
      <dgm:prSet/>
      <dgm:spPr/>
      <dgm:t>
        <a:bodyPr/>
        <a:lstStyle/>
        <a:p>
          <a:endParaRPr lang="en-GB"/>
        </a:p>
      </dgm:t>
    </dgm:pt>
    <dgm:pt modelId="{7DE3F21C-AC92-0444-8F15-E9FBCEADD9E5}" type="sibTrans" cxnId="{25FAD260-309A-1D45-83B5-A1E4812C890F}">
      <dgm:prSet/>
      <dgm:spPr/>
      <dgm:t>
        <a:bodyPr/>
        <a:lstStyle/>
        <a:p>
          <a:endParaRPr lang="en-GB"/>
        </a:p>
      </dgm:t>
    </dgm:pt>
    <dgm:pt modelId="{640DB307-6680-9649-9467-354447C3044F}">
      <dgm:prSet phldrT="[Text]" custT="1"/>
      <dgm:spPr/>
      <dgm:t>
        <a:bodyPr/>
        <a:lstStyle/>
        <a:p>
          <a:r>
            <a:rPr lang="en-GB" sz="2400" dirty="0" smtClean="0">
              <a:solidFill>
                <a:srgbClr val="00A6D4"/>
              </a:solidFill>
            </a:rPr>
            <a:t>Prescribing  </a:t>
          </a:r>
          <a:endParaRPr lang="en-GB" sz="2400" dirty="0">
            <a:solidFill>
              <a:srgbClr val="00A6D4"/>
            </a:solidFill>
          </a:endParaRPr>
        </a:p>
      </dgm:t>
    </dgm:pt>
    <dgm:pt modelId="{9CE5E9EA-05A8-5742-8BA0-A73B48421A11}" type="parTrans" cxnId="{832DF937-DD8A-8744-AB7D-23188D75DC50}">
      <dgm:prSet/>
      <dgm:spPr/>
      <dgm:t>
        <a:bodyPr/>
        <a:lstStyle/>
        <a:p>
          <a:endParaRPr lang="en-GB"/>
        </a:p>
      </dgm:t>
    </dgm:pt>
    <dgm:pt modelId="{E31B3FE9-9927-F345-8E41-091745C592C3}" type="sibTrans" cxnId="{832DF937-DD8A-8744-AB7D-23188D75DC50}">
      <dgm:prSet/>
      <dgm:spPr/>
      <dgm:t>
        <a:bodyPr/>
        <a:lstStyle/>
        <a:p>
          <a:endParaRPr lang="en-GB"/>
        </a:p>
      </dgm:t>
    </dgm:pt>
    <dgm:pt modelId="{82FF3524-5611-E244-B99B-0A3B75E754A9}" type="pres">
      <dgm:prSet presAssocID="{1F37D4EB-57D2-804D-AB49-F241A71F6A02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en-GB"/>
        </a:p>
      </dgm:t>
    </dgm:pt>
    <dgm:pt modelId="{27E6662A-B17C-B841-8283-38135AC8EDE2}" type="pres">
      <dgm:prSet presAssocID="{A6E6345E-B68D-AC40-819A-03C492AB2D48}" presName="composite" presStyleCnt="0"/>
      <dgm:spPr/>
    </dgm:pt>
    <dgm:pt modelId="{8169CC8C-92E9-5149-96DF-DFD3744A3443}" type="pres">
      <dgm:prSet presAssocID="{A6E6345E-B68D-AC40-819A-03C492AB2D48}" presName="bentUpArrow1" presStyleLbl="alignImgPlace1" presStyleIdx="0" presStyleCnt="2"/>
      <dgm:spPr>
        <a:ln>
          <a:solidFill>
            <a:srgbClr val="7030A0"/>
          </a:solidFill>
        </a:ln>
      </dgm:spPr>
    </dgm:pt>
    <dgm:pt modelId="{9AC562C3-E8A2-8B42-A9D7-3BB9DBFEBBDF}" type="pres">
      <dgm:prSet presAssocID="{A6E6345E-B68D-AC40-819A-03C492AB2D48}" presName="ParentText" presStyleLbl="node1" presStyleIdx="0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C936F26-E59C-4B48-B7B6-2FDF242AF599}" type="pres">
      <dgm:prSet presAssocID="{A6E6345E-B68D-AC40-819A-03C492AB2D48}" presName="ChildText" presStyleLbl="revTx" presStyleIdx="0" presStyleCnt="3" custScaleX="288258" custLinFactNeighborX="93370" custLinFactNeighborY="113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DAA1199-979D-154E-B52E-C5D45550FD45}" type="pres">
      <dgm:prSet presAssocID="{E12CA100-C166-6241-BB90-51721BBDB07C}" presName="sibTrans" presStyleCnt="0"/>
      <dgm:spPr/>
    </dgm:pt>
    <dgm:pt modelId="{FF720D5C-985A-D946-8851-143F7B66B219}" type="pres">
      <dgm:prSet presAssocID="{D55B87C9-C855-F94B-8560-6DD16B31A7D6}" presName="composite" presStyleCnt="0"/>
      <dgm:spPr/>
    </dgm:pt>
    <dgm:pt modelId="{E51ECFA0-AD87-9B40-91CF-A964B9AE887D}" type="pres">
      <dgm:prSet presAssocID="{D55B87C9-C855-F94B-8560-6DD16B31A7D6}" presName="bentUpArrow1" presStyleLbl="alignImgPlace1" presStyleIdx="1" presStyleCnt="2"/>
      <dgm:spPr>
        <a:ln>
          <a:solidFill>
            <a:srgbClr val="7030A0"/>
          </a:solidFill>
        </a:ln>
      </dgm:spPr>
    </dgm:pt>
    <dgm:pt modelId="{596743A4-C2A0-314B-9AE5-AF1FE3BB310E}" type="pres">
      <dgm:prSet presAssocID="{D55B87C9-C855-F94B-8560-6DD16B31A7D6}" presName="ParentText" presStyleLbl="node1" presStyleIdx="1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B80B5AC4-7DDE-7C49-9B18-89FB90561642}" type="pres">
      <dgm:prSet presAssocID="{D55B87C9-C855-F94B-8560-6DD16B31A7D6}" presName="ChildText" presStyleLbl="revTx" presStyleIdx="1" presStyleCnt="3" custScaleX="280023" custScaleY="140850" custLinFactX="2740" custLinFactNeighborX="100000" custLinFactNeighborY="419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AE7C7969-B4C0-6D4F-A12C-DE8D20F823C9}" type="pres">
      <dgm:prSet presAssocID="{0F913F34-622F-7149-8CC0-EE33F1E685BF}" presName="sibTrans" presStyleCnt="0"/>
      <dgm:spPr/>
    </dgm:pt>
    <dgm:pt modelId="{70F97E5C-742E-3541-8AAA-56140EF1CBB3}" type="pres">
      <dgm:prSet presAssocID="{655D17D9-82EA-924E-B982-C2C5AAEEB4B8}" presName="composite" presStyleCnt="0"/>
      <dgm:spPr/>
    </dgm:pt>
    <dgm:pt modelId="{4420A943-739B-3446-83CF-4CC9150554EF}" type="pres">
      <dgm:prSet presAssocID="{655D17D9-82EA-924E-B982-C2C5AAEEB4B8}" presName="ParentText" presStyleLbl="node1" presStyleIdx="2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3BD71708-21AD-D649-83DC-5893F5198296}" type="pres">
      <dgm:prSet presAssocID="{655D17D9-82EA-924E-B982-C2C5AAEEB4B8}" presName="FinalChildText" presStyleLbl="revTx" presStyleIdx="2" presStyleCnt="3" custScaleX="138915" custLinFactNeighborX="22997" custLinFactNeighborY="415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7D033A26-CBC5-A943-8357-9BE2D8F24FDE}" type="presOf" srcId="{1F37D4EB-57D2-804D-AB49-F241A71F6A02}" destId="{82FF3524-5611-E244-B99B-0A3B75E754A9}" srcOrd="0" destOrd="0" presId="urn:microsoft.com/office/officeart/2005/8/layout/StepDownProcess"/>
    <dgm:cxn modelId="{4733EC1C-0719-534A-A737-8ABB5F393AE1}" srcId="{1F37D4EB-57D2-804D-AB49-F241A71F6A02}" destId="{A6E6345E-B68D-AC40-819A-03C492AB2D48}" srcOrd="0" destOrd="0" parTransId="{B8F4DB77-96BA-934A-B390-B590B68204E2}" sibTransId="{E12CA100-C166-6241-BB90-51721BBDB07C}"/>
    <dgm:cxn modelId="{C28CE9DF-820D-AF42-9549-6A85786069B3}" type="presOf" srcId="{655D17D9-82EA-924E-B982-C2C5AAEEB4B8}" destId="{4420A943-739B-3446-83CF-4CC9150554EF}" srcOrd="0" destOrd="0" presId="urn:microsoft.com/office/officeart/2005/8/layout/StepDownProcess"/>
    <dgm:cxn modelId="{B8BCAA87-2724-784D-BCCE-9275833762A6}" srcId="{A6E6345E-B68D-AC40-819A-03C492AB2D48}" destId="{1E5B15D3-DAEC-C14E-976C-CAFBCA928049}" srcOrd="0" destOrd="0" parTransId="{5647901F-7A1A-FB47-BCC6-68F791B28786}" sibTransId="{B2F920E3-8756-464E-8145-607939EDE9B0}"/>
    <dgm:cxn modelId="{044AE557-2E7E-BD4A-9DC5-AE3465F76EF2}" type="presOf" srcId="{1E5B15D3-DAEC-C14E-976C-CAFBCA928049}" destId="{9C936F26-E59C-4B48-B7B6-2FDF242AF599}" srcOrd="0" destOrd="0" presId="urn:microsoft.com/office/officeart/2005/8/layout/StepDownProcess"/>
    <dgm:cxn modelId="{832DF937-DD8A-8744-AB7D-23188D75DC50}" srcId="{D55B87C9-C855-F94B-8560-6DD16B31A7D6}" destId="{640DB307-6680-9649-9467-354447C3044F}" srcOrd="1" destOrd="0" parTransId="{9CE5E9EA-05A8-5742-8BA0-A73B48421A11}" sibTransId="{E31B3FE9-9927-F345-8E41-091745C592C3}"/>
    <dgm:cxn modelId="{BE102E18-B648-584D-9D83-319D2ABFA9F2}" srcId="{655D17D9-82EA-924E-B982-C2C5AAEEB4B8}" destId="{310119BA-7FB4-8648-8DD8-150EDF661E16}" srcOrd="0" destOrd="0" parTransId="{D49BDAF6-D96F-CF4D-985E-76D9D6453E0B}" sibTransId="{5D5C8674-52FF-874C-AD8C-CEAD38849D39}"/>
    <dgm:cxn modelId="{DD5579E8-20BE-D040-AC74-F0E96E87B2CC}" type="presOf" srcId="{310119BA-7FB4-8648-8DD8-150EDF661E16}" destId="{3BD71708-21AD-D649-83DC-5893F5198296}" srcOrd="0" destOrd="0" presId="urn:microsoft.com/office/officeart/2005/8/layout/StepDownProcess"/>
    <dgm:cxn modelId="{B6398D9E-E9D9-5B46-892E-A9FB3C550B10}" type="presOf" srcId="{A6E6345E-B68D-AC40-819A-03C492AB2D48}" destId="{9AC562C3-E8A2-8B42-A9D7-3BB9DBFEBBDF}" srcOrd="0" destOrd="0" presId="urn:microsoft.com/office/officeart/2005/8/layout/StepDownProcess"/>
    <dgm:cxn modelId="{FB0C942D-ACD8-0748-9D42-CB45EBF23417}" srcId="{1F37D4EB-57D2-804D-AB49-F241A71F6A02}" destId="{655D17D9-82EA-924E-B982-C2C5AAEEB4B8}" srcOrd="2" destOrd="0" parTransId="{080064AD-69A0-EE45-88E4-768AB61595A7}" sibTransId="{1EAC69CC-1DE8-A648-BFE4-2BB3265A2093}"/>
    <dgm:cxn modelId="{052789E6-1E0A-654F-AF4E-36050B4F10C1}" srcId="{D55B87C9-C855-F94B-8560-6DD16B31A7D6}" destId="{DAB229BF-07DD-C046-AF2C-D8206F781528}" srcOrd="0" destOrd="0" parTransId="{A9DC410B-56F7-7144-808B-DE0D920EC42A}" sibTransId="{EFDD6BAE-D813-8146-86C3-B8E4A48F6FB0}"/>
    <dgm:cxn modelId="{219E9DEB-D682-8248-B7FE-33F3C95AD5AD}" type="presOf" srcId="{640DB307-6680-9649-9467-354447C3044F}" destId="{B80B5AC4-7DDE-7C49-9B18-89FB90561642}" srcOrd="0" destOrd="1" presId="urn:microsoft.com/office/officeart/2005/8/layout/StepDownProcess"/>
    <dgm:cxn modelId="{71297DA5-AE41-1141-A64D-B8C9D6D9233A}" type="presOf" srcId="{1BAF1C97-C18E-F743-A71E-35BE0C2DCCE6}" destId="{B80B5AC4-7DDE-7C49-9B18-89FB90561642}" srcOrd="0" destOrd="2" presId="urn:microsoft.com/office/officeart/2005/8/layout/StepDownProcess"/>
    <dgm:cxn modelId="{25FAD260-309A-1D45-83B5-A1E4812C890F}" srcId="{D55B87C9-C855-F94B-8560-6DD16B31A7D6}" destId="{1BAF1C97-C18E-F743-A71E-35BE0C2DCCE6}" srcOrd="2" destOrd="0" parTransId="{F3D92550-6A19-A246-A1F6-EEE053CB57BF}" sibTransId="{7DE3F21C-AC92-0444-8F15-E9FBCEADD9E5}"/>
    <dgm:cxn modelId="{FC914A48-97B7-714A-841E-B8E1E4FE0594}" type="presOf" srcId="{DAB229BF-07DD-C046-AF2C-D8206F781528}" destId="{B80B5AC4-7DDE-7C49-9B18-89FB90561642}" srcOrd="0" destOrd="0" presId="urn:microsoft.com/office/officeart/2005/8/layout/StepDownProcess"/>
    <dgm:cxn modelId="{58981559-E315-6A43-ADC9-7C6D71E306AB}" type="presOf" srcId="{D55B87C9-C855-F94B-8560-6DD16B31A7D6}" destId="{596743A4-C2A0-314B-9AE5-AF1FE3BB310E}" srcOrd="0" destOrd="0" presId="urn:microsoft.com/office/officeart/2005/8/layout/StepDownProcess"/>
    <dgm:cxn modelId="{B6EB53F9-9C67-6E43-A2BC-48A9D152172B}" srcId="{1F37D4EB-57D2-804D-AB49-F241A71F6A02}" destId="{D55B87C9-C855-F94B-8560-6DD16B31A7D6}" srcOrd="1" destOrd="0" parTransId="{DF74A6CE-D003-994A-977A-01120A36463B}" sibTransId="{0F913F34-622F-7149-8CC0-EE33F1E685BF}"/>
    <dgm:cxn modelId="{AF612976-2E7D-674C-B5AE-54BC9BAC22E0}" type="presParOf" srcId="{82FF3524-5611-E244-B99B-0A3B75E754A9}" destId="{27E6662A-B17C-B841-8283-38135AC8EDE2}" srcOrd="0" destOrd="0" presId="urn:microsoft.com/office/officeart/2005/8/layout/StepDownProcess"/>
    <dgm:cxn modelId="{2DB6CE86-E952-D247-B92C-A79766403285}" type="presParOf" srcId="{27E6662A-B17C-B841-8283-38135AC8EDE2}" destId="{8169CC8C-92E9-5149-96DF-DFD3744A3443}" srcOrd="0" destOrd="0" presId="urn:microsoft.com/office/officeart/2005/8/layout/StepDownProcess"/>
    <dgm:cxn modelId="{97CD8E78-AC76-2844-AB08-6C4ACCCE4859}" type="presParOf" srcId="{27E6662A-B17C-B841-8283-38135AC8EDE2}" destId="{9AC562C3-E8A2-8B42-A9D7-3BB9DBFEBBDF}" srcOrd="1" destOrd="0" presId="urn:microsoft.com/office/officeart/2005/8/layout/StepDownProcess"/>
    <dgm:cxn modelId="{CAF6DD2D-E410-0246-9D9A-A797B0DBCCF4}" type="presParOf" srcId="{27E6662A-B17C-B841-8283-38135AC8EDE2}" destId="{9C936F26-E59C-4B48-B7B6-2FDF242AF599}" srcOrd="2" destOrd="0" presId="urn:microsoft.com/office/officeart/2005/8/layout/StepDownProcess"/>
    <dgm:cxn modelId="{54A5A67D-7F9B-DF4F-96E6-E875A1674CC8}" type="presParOf" srcId="{82FF3524-5611-E244-B99B-0A3B75E754A9}" destId="{9DAA1199-979D-154E-B52E-C5D45550FD45}" srcOrd="1" destOrd="0" presId="urn:microsoft.com/office/officeart/2005/8/layout/StepDownProcess"/>
    <dgm:cxn modelId="{E1BC631F-AAD6-B742-AB48-3351DDF7FA70}" type="presParOf" srcId="{82FF3524-5611-E244-B99B-0A3B75E754A9}" destId="{FF720D5C-985A-D946-8851-143F7B66B219}" srcOrd="2" destOrd="0" presId="urn:microsoft.com/office/officeart/2005/8/layout/StepDownProcess"/>
    <dgm:cxn modelId="{3E6184D9-8D1A-3247-8D87-60644B509095}" type="presParOf" srcId="{FF720D5C-985A-D946-8851-143F7B66B219}" destId="{E51ECFA0-AD87-9B40-91CF-A964B9AE887D}" srcOrd="0" destOrd="0" presId="urn:microsoft.com/office/officeart/2005/8/layout/StepDownProcess"/>
    <dgm:cxn modelId="{F399DDD6-1721-D84D-AACA-015597E96352}" type="presParOf" srcId="{FF720D5C-985A-D946-8851-143F7B66B219}" destId="{596743A4-C2A0-314B-9AE5-AF1FE3BB310E}" srcOrd="1" destOrd="0" presId="urn:microsoft.com/office/officeart/2005/8/layout/StepDownProcess"/>
    <dgm:cxn modelId="{CF862FAF-450B-A04C-98BF-EDB23CF68AAB}" type="presParOf" srcId="{FF720D5C-985A-D946-8851-143F7B66B219}" destId="{B80B5AC4-7DDE-7C49-9B18-89FB90561642}" srcOrd="2" destOrd="0" presId="urn:microsoft.com/office/officeart/2005/8/layout/StepDownProcess"/>
    <dgm:cxn modelId="{2EEAC7C6-0ADE-5541-A725-31475BE56CFB}" type="presParOf" srcId="{82FF3524-5611-E244-B99B-0A3B75E754A9}" destId="{AE7C7969-B4C0-6D4F-A12C-DE8D20F823C9}" srcOrd="3" destOrd="0" presId="urn:microsoft.com/office/officeart/2005/8/layout/StepDownProcess"/>
    <dgm:cxn modelId="{8B1E3B18-0AC6-D647-A294-9BE673E8FFD9}" type="presParOf" srcId="{82FF3524-5611-E244-B99B-0A3B75E754A9}" destId="{70F97E5C-742E-3541-8AAA-56140EF1CBB3}" srcOrd="4" destOrd="0" presId="urn:microsoft.com/office/officeart/2005/8/layout/StepDownProcess"/>
    <dgm:cxn modelId="{B50AE3A4-2163-B746-B125-32D203681AC9}" type="presParOf" srcId="{70F97E5C-742E-3541-8AAA-56140EF1CBB3}" destId="{4420A943-739B-3446-83CF-4CC9150554EF}" srcOrd="0" destOrd="0" presId="urn:microsoft.com/office/officeart/2005/8/layout/StepDownProcess"/>
    <dgm:cxn modelId="{E8B00D44-2B1C-8543-B640-28DC28C779A2}" type="presParOf" srcId="{70F97E5C-742E-3541-8AAA-56140EF1CBB3}" destId="{3BD71708-21AD-D649-83DC-5893F5198296}" srcOrd="1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1F37D4EB-57D2-804D-AB49-F241A71F6A02}" type="doc">
      <dgm:prSet loTypeId="urn:microsoft.com/office/officeart/2005/8/layout/StepDownProcess" loCatId="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GB"/>
        </a:p>
      </dgm:t>
    </dgm:pt>
    <dgm:pt modelId="{A6E6345E-B68D-AC40-819A-03C492AB2D48}">
      <dgm:prSet phldrT="[Text]"/>
      <dgm:spPr>
        <a:ln>
          <a:solidFill>
            <a:srgbClr val="7030A0"/>
          </a:solidFill>
        </a:ln>
      </dgm:spPr>
      <dgm:t>
        <a:bodyPr/>
        <a:lstStyle/>
        <a:p>
          <a:r>
            <a:rPr lang="en-GB" dirty="0" smtClean="0"/>
            <a:t>Admission</a:t>
          </a:r>
          <a:endParaRPr lang="en-GB" dirty="0"/>
        </a:p>
      </dgm:t>
    </dgm:pt>
    <dgm:pt modelId="{B8F4DB77-96BA-934A-B390-B590B68204E2}" type="parTrans" cxnId="{4733EC1C-0719-534A-A737-8ABB5F393AE1}">
      <dgm:prSet/>
      <dgm:spPr/>
      <dgm:t>
        <a:bodyPr/>
        <a:lstStyle/>
        <a:p>
          <a:endParaRPr lang="en-GB"/>
        </a:p>
      </dgm:t>
    </dgm:pt>
    <dgm:pt modelId="{E12CA100-C166-6241-BB90-51721BBDB07C}" type="sibTrans" cxnId="{4733EC1C-0719-534A-A737-8ABB5F393AE1}">
      <dgm:prSet/>
      <dgm:spPr/>
      <dgm:t>
        <a:bodyPr/>
        <a:lstStyle/>
        <a:p>
          <a:endParaRPr lang="en-GB"/>
        </a:p>
      </dgm:t>
    </dgm:pt>
    <dgm:pt modelId="{1E5B15D3-DAEC-C14E-976C-CAFBCA928049}">
      <dgm:prSet phldrT="[Text]" custT="1"/>
      <dgm:spPr/>
      <dgm:t>
        <a:bodyPr/>
        <a:lstStyle/>
        <a:p>
          <a:r>
            <a:rPr lang="en-GB" sz="2400" dirty="0" smtClean="0">
              <a:solidFill>
                <a:srgbClr val="00A6D4"/>
              </a:solidFill>
            </a:rPr>
            <a:t>Medicines reconciliation</a:t>
          </a:r>
          <a:endParaRPr lang="en-GB" sz="2400" dirty="0">
            <a:solidFill>
              <a:srgbClr val="00A6D4"/>
            </a:solidFill>
          </a:endParaRPr>
        </a:p>
      </dgm:t>
    </dgm:pt>
    <dgm:pt modelId="{5647901F-7A1A-FB47-BCC6-68F791B28786}" type="parTrans" cxnId="{B8BCAA87-2724-784D-BCCE-9275833762A6}">
      <dgm:prSet/>
      <dgm:spPr/>
      <dgm:t>
        <a:bodyPr/>
        <a:lstStyle/>
        <a:p>
          <a:endParaRPr lang="en-GB"/>
        </a:p>
      </dgm:t>
    </dgm:pt>
    <dgm:pt modelId="{B2F920E3-8756-464E-8145-607939EDE9B0}" type="sibTrans" cxnId="{B8BCAA87-2724-784D-BCCE-9275833762A6}">
      <dgm:prSet/>
      <dgm:spPr/>
      <dgm:t>
        <a:bodyPr/>
        <a:lstStyle/>
        <a:p>
          <a:endParaRPr lang="en-GB"/>
        </a:p>
      </dgm:t>
    </dgm:pt>
    <dgm:pt modelId="{D55B87C9-C855-F94B-8560-6DD16B31A7D6}">
      <dgm:prSet phldrT="[Text]"/>
      <dgm:spPr>
        <a:ln>
          <a:solidFill>
            <a:srgbClr val="7030A0"/>
          </a:solidFill>
        </a:ln>
      </dgm:spPr>
      <dgm:t>
        <a:bodyPr/>
        <a:lstStyle/>
        <a:p>
          <a:r>
            <a:rPr lang="en-GB" dirty="0" smtClean="0"/>
            <a:t>Stay </a:t>
          </a:r>
          <a:endParaRPr lang="en-GB" dirty="0"/>
        </a:p>
      </dgm:t>
    </dgm:pt>
    <dgm:pt modelId="{DF74A6CE-D003-994A-977A-01120A36463B}" type="parTrans" cxnId="{B6EB53F9-9C67-6E43-A2BC-48A9D152172B}">
      <dgm:prSet/>
      <dgm:spPr/>
      <dgm:t>
        <a:bodyPr/>
        <a:lstStyle/>
        <a:p>
          <a:endParaRPr lang="en-GB"/>
        </a:p>
      </dgm:t>
    </dgm:pt>
    <dgm:pt modelId="{0F913F34-622F-7149-8CC0-EE33F1E685BF}" type="sibTrans" cxnId="{B6EB53F9-9C67-6E43-A2BC-48A9D152172B}">
      <dgm:prSet/>
      <dgm:spPr/>
      <dgm:t>
        <a:bodyPr/>
        <a:lstStyle/>
        <a:p>
          <a:endParaRPr lang="en-GB"/>
        </a:p>
      </dgm:t>
    </dgm:pt>
    <dgm:pt modelId="{DAB229BF-07DD-C046-AF2C-D8206F781528}">
      <dgm:prSet phldrT="[Text]" custT="1"/>
      <dgm:spPr/>
      <dgm:t>
        <a:bodyPr/>
        <a:lstStyle/>
        <a:p>
          <a:r>
            <a:rPr lang="en-GB" sz="2400" dirty="0" smtClean="0">
              <a:solidFill>
                <a:srgbClr val="00A6D4"/>
              </a:solidFill>
            </a:rPr>
            <a:t>Medicines optimisation</a:t>
          </a:r>
          <a:endParaRPr lang="en-GB" sz="2400" dirty="0">
            <a:solidFill>
              <a:srgbClr val="00A6D4"/>
            </a:solidFill>
          </a:endParaRPr>
        </a:p>
      </dgm:t>
    </dgm:pt>
    <dgm:pt modelId="{A9DC410B-56F7-7144-808B-DE0D920EC42A}" type="parTrans" cxnId="{052789E6-1E0A-654F-AF4E-36050B4F10C1}">
      <dgm:prSet/>
      <dgm:spPr/>
      <dgm:t>
        <a:bodyPr/>
        <a:lstStyle/>
        <a:p>
          <a:endParaRPr lang="en-GB"/>
        </a:p>
      </dgm:t>
    </dgm:pt>
    <dgm:pt modelId="{EFDD6BAE-D813-8146-86C3-B8E4A48F6FB0}" type="sibTrans" cxnId="{052789E6-1E0A-654F-AF4E-36050B4F10C1}">
      <dgm:prSet/>
      <dgm:spPr/>
      <dgm:t>
        <a:bodyPr/>
        <a:lstStyle/>
        <a:p>
          <a:endParaRPr lang="en-GB"/>
        </a:p>
      </dgm:t>
    </dgm:pt>
    <dgm:pt modelId="{655D17D9-82EA-924E-B982-C2C5AAEEB4B8}">
      <dgm:prSet phldrT="[Text]"/>
      <dgm:spPr>
        <a:ln>
          <a:solidFill>
            <a:srgbClr val="7030A0"/>
          </a:solidFill>
        </a:ln>
      </dgm:spPr>
      <dgm:t>
        <a:bodyPr/>
        <a:lstStyle/>
        <a:p>
          <a:r>
            <a:rPr lang="en-GB" dirty="0" smtClean="0"/>
            <a:t>Discharge </a:t>
          </a:r>
          <a:endParaRPr lang="en-GB" dirty="0"/>
        </a:p>
      </dgm:t>
    </dgm:pt>
    <dgm:pt modelId="{080064AD-69A0-EE45-88E4-768AB61595A7}" type="parTrans" cxnId="{FB0C942D-ACD8-0748-9D42-CB45EBF23417}">
      <dgm:prSet/>
      <dgm:spPr/>
      <dgm:t>
        <a:bodyPr/>
        <a:lstStyle/>
        <a:p>
          <a:endParaRPr lang="en-GB"/>
        </a:p>
      </dgm:t>
    </dgm:pt>
    <dgm:pt modelId="{1EAC69CC-1DE8-A648-BFE4-2BB3265A2093}" type="sibTrans" cxnId="{FB0C942D-ACD8-0748-9D42-CB45EBF23417}">
      <dgm:prSet/>
      <dgm:spPr/>
      <dgm:t>
        <a:bodyPr/>
        <a:lstStyle/>
        <a:p>
          <a:endParaRPr lang="en-GB"/>
        </a:p>
      </dgm:t>
    </dgm:pt>
    <dgm:pt modelId="{310119BA-7FB4-8648-8DD8-150EDF661E16}">
      <dgm:prSet phldrT="[Text]" custT="1"/>
      <dgm:spPr/>
      <dgm:t>
        <a:bodyPr/>
        <a:lstStyle/>
        <a:p>
          <a:r>
            <a:rPr lang="en-GB" sz="2400" dirty="0" smtClean="0"/>
            <a:t>Medicines review</a:t>
          </a:r>
          <a:endParaRPr lang="en-GB" sz="2400" dirty="0"/>
        </a:p>
      </dgm:t>
    </dgm:pt>
    <dgm:pt modelId="{D49BDAF6-D96F-CF4D-985E-76D9D6453E0B}" type="parTrans" cxnId="{BE102E18-B648-584D-9D83-319D2ABFA9F2}">
      <dgm:prSet/>
      <dgm:spPr/>
      <dgm:t>
        <a:bodyPr/>
        <a:lstStyle/>
        <a:p>
          <a:endParaRPr lang="en-GB"/>
        </a:p>
      </dgm:t>
    </dgm:pt>
    <dgm:pt modelId="{5D5C8674-52FF-874C-AD8C-CEAD38849D39}" type="sibTrans" cxnId="{BE102E18-B648-584D-9D83-319D2ABFA9F2}">
      <dgm:prSet/>
      <dgm:spPr/>
      <dgm:t>
        <a:bodyPr/>
        <a:lstStyle/>
        <a:p>
          <a:endParaRPr lang="en-GB"/>
        </a:p>
      </dgm:t>
    </dgm:pt>
    <dgm:pt modelId="{1BAF1C97-C18E-F743-A71E-35BE0C2DCCE6}">
      <dgm:prSet phldrT="[Text]" custT="1"/>
      <dgm:spPr/>
      <dgm:t>
        <a:bodyPr/>
        <a:lstStyle/>
        <a:p>
          <a:r>
            <a:rPr lang="en-GB" sz="2400" dirty="0" smtClean="0">
              <a:solidFill>
                <a:srgbClr val="00A6D4"/>
              </a:solidFill>
            </a:rPr>
            <a:t>Safety</a:t>
          </a:r>
          <a:endParaRPr lang="en-GB" sz="2400" dirty="0"/>
        </a:p>
      </dgm:t>
    </dgm:pt>
    <dgm:pt modelId="{F3D92550-6A19-A246-A1F6-EEE053CB57BF}" type="parTrans" cxnId="{25FAD260-309A-1D45-83B5-A1E4812C890F}">
      <dgm:prSet/>
      <dgm:spPr/>
      <dgm:t>
        <a:bodyPr/>
        <a:lstStyle/>
        <a:p>
          <a:endParaRPr lang="en-GB"/>
        </a:p>
      </dgm:t>
    </dgm:pt>
    <dgm:pt modelId="{7DE3F21C-AC92-0444-8F15-E9FBCEADD9E5}" type="sibTrans" cxnId="{25FAD260-309A-1D45-83B5-A1E4812C890F}">
      <dgm:prSet/>
      <dgm:spPr/>
      <dgm:t>
        <a:bodyPr/>
        <a:lstStyle/>
        <a:p>
          <a:endParaRPr lang="en-GB"/>
        </a:p>
      </dgm:t>
    </dgm:pt>
    <dgm:pt modelId="{640DB307-6680-9649-9467-354447C3044F}">
      <dgm:prSet phldrT="[Text]" custT="1"/>
      <dgm:spPr/>
      <dgm:t>
        <a:bodyPr/>
        <a:lstStyle/>
        <a:p>
          <a:r>
            <a:rPr lang="en-GB" sz="2400" dirty="0" smtClean="0">
              <a:solidFill>
                <a:srgbClr val="00A6D4"/>
              </a:solidFill>
            </a:rPr>
            <a:t>Prescribing </a:t>
          </a:r>
          <a:endParaRPr lang="en-GB" sz="2400" dirty="0">
            <a:solidFill>
              <a:srgbClr val="00A6D4"/>
            </a:solidFill>
          </a:endParaRPr>
        </a:p>
      </dgm:t>
    </dgm:pt>
    <dgm:pt modelId="{9CE5E9EA-05A8-5742-8BA0-A73B48421A11}" type="parTrans" cxnId="{832DF937-DD8A-8744-AB7D-23188D75DC50}">
      <dgm:prSet/>
      <dgm:spPr/>
      <dgm:t>
        <a:bodyPr/>
        <a:lstStyle/>
        <a:p>
          <a:endParaRPr lang="en-GB"/>
        </a:p>
      </dgm:t>
    </dgm:pt>
    <dgm:pt modelId="{E31B3FE9-9927-F345-8E41-091745C592C3}" type="sibTrans" cxnId="{832DF937-DD8A-8744-AB7D-23188D75DC50}">
      <dgm:prSet/>
      <dgm:spPr/>
      <dgm:t>
        <a:bodyPr/>
        <a:lstStyle/>
        <a:p>
          <a:endParaRPr lang="en-GB"/>
        </a:p>
      </dgm:t>
    </dgm:pt>
    <dgm:pt modelId="{82FF3524-5611-E244-B99B-0A3B75E754A9}" type="pres">
      <dgm:prSet presAssocID="{1F37D4EB-57D2-804D-AB49-F241A71F6A02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en-GB"/>
        </a:p>
      </dgm:t>
    </dgm:pt>
    <dgm:pt modelId="{27E6662A-B17C-B841-8283-38135AC8EDE2}" type="pres">
      <dgm:prSet presAssocID="{A6E6345E-B68D-AC40-819A-03C492AB2D48}" presName="composite" presStyleCnt="0"/>
      <dgm:spPr/>
    </dgm:pt>
    <dgm:pt modelId="{8169CC8C-92E9-5149-96DF-DFD3744A3443}" type="pres">
      <dgm:prSet presAssocID="{A6E6345E-B68D-AC40-819A-03C492AB2D48}" presName="bentUpArrow1" presStyleLbl="alignImgPlace1" presStyleIdx="0" presStyleCnt="2"/>
      <dgm:spPr>
        <a:ln>
          <a:solidFill>
            <a:srgbClr val="7030A0"/>
          </a:solidFill>
        </a:ln>
      </dgm:spPr>
    </dgm:pt>
    <dgm:pt modelId="{9AC562C3-E8A2-8B42-A9D7-3BB9DBFEBBDF}" type="pres">
      <dgm:prSet presAssocID="{A6E6345E-B68D-AC40-819A-03C492AB2D48}" presName="ParentText" presStyleLbl="node1" presStyleIdx="0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C936F26-E59C-4B48-B7B6-2FDF242AF599}" type="pres">
      <dgm:prSet presAssocID="{A6E6345E-B68D-AC40-819A-03C492AB2D48}" presName="ChildText" presStyleLbl="revTx" presStyleIdx="0" presStyleCnt="3" custScaleX="288258" custLinFactNeighborX="93370" custLinFactNeighborY="113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DAA1199-979D-154E-B52E-C5D45550FD45}" type="pres">
      <dgm:prSet presAssocID="{E12CA100-C166-6241-BB90-51721BBDB07C}" presName="sibTrans" presStyleCnt="0"/>
      <dgm:spPr/>
    </dgm:pt>
    <dgm:pt modelId="{FF720D5C-985A-D946-8851-143F7B66B219}" type="pres">
      <dgm:prSet presAssocID="{D55B87C9-C855-F94B-8560-6DD16B31A7D6}" presName="composite" presStyleCnt="0"/>
      <dgm:spPr/>
    </dgm:pt>
    <dgm:pt modelId="{E51ECFA0-AD87-9B40-91CF-A964B9AE887D}" type="pres">
      <dgm:prSet presAssocID="{D55B87C9-C855-F94B-8560-6DD16B31A7D6}" presName="bentUpArrow1" presStyleLbl="alignImgPlace1" presStyleIdx="1" presStyleCnt="2"/>
      <dgm:spPr>
        <a:ln>
          <a:solidFill>
            <a:srgbClr val="7030A0"/>
          </a:solidFill>
        </a:ln>
      </dgm:spPr>
    </dgm:pt>
    <dgm:pt modelId="{596743A4-C2A0-314B-9AE5-AF1FE3BB310E}" type="pres">
      <dgm:prSet presAssocID="{D55B87C9-C855-F94B-8560-6DD16B31A7D6}" presName="ParentText" presStyleLbl="node1" presStyleIdx="1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B80B5AC4-7DDE-7C49-9B18-89FB90561642}" type="pres">
      <dgm:prSet presAssocID="{D55B87C9-C855-F94B-8560-6DD16B31A7D6}" presName="ChildText" presStyleLbl="revTx" presStyleIdx="1" presStyleCnt="3" custScaleX="280023" custScaleY="140850" custLinFactX="3636" custLinFactNeighborX="100000" custLinFactNeighborY="419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AE7C7969-B4C0-6D4F-A12C-DE8D20F823C9}" type="pres">
      <dgm:prSet presAssocID="{0F913F34-622F-7149-8CC0-EE33F1E685BF}" presName="sibTrans" presStyleCnt="0"/>
      <dgm:spPr/>
    </dgm:pt>
    <dgm:pt modelId="{70F97E5C-742E-3541-8AAA-56140EF1CBB3}" type="pres">
      <dgm:prSet presAssocID="{655D17D9-82EA-924E-B982-C2C5AAEEB4B8}" presName="composite" presStyleCnt="0"/>
      <dgm:spPr/>
    </dgm:pt>
    <dgm:pt modelId="{4420A943-739B-3446-83CF-4CC9150554EF}" type="pres">
      <dgm:prSet presAssocID="{655D17D9-82EA-924E-B982-C2C5AAEEB4B8}" presName="ParentText" presStyleLbl="node1" presStyleIdx="2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3BD71708-21AD-D649-83DC-5893F5198296}" type="pres">
      <dgm:prSet presAssocID="{655D17D9-82EA-924E-B982-C2C5AAEEB4B8}" presName="FinalChildText" presStyleLbl="revTx" presStyleIdx="2" presStyleCnt="3" custScaleX="138915" custLinFactNeighborX="22997" custLinFactNeighborY="415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9D4B7950-267C-3645-BBA8-F27BC15C3144}" type="presOf" srcId="{1E5B15D3-DAEC-C14E-976C-CAFBCA928049}" destId="{9C936F26-E59C-4B48-B7B6-2FDF242AF599}" srcOrd="0" destOrd="0" presId="urn:microsoft.com/office/officeart/2005/8/layout/StepDownProcess"/>
    <dgm:cxn modelId="{6CC73789-B432-7849-A9CA-B311BD452CFA}" type="presOf" srcId="{DAB229BF-07DD-C046-AF2C-D8206F781528}" destId="{B80B5AC4-7DDE-7C49-9B18-89FB90561642}" srcOrd="0" destOrd="0" presId="urn:microsoft.com/office/officeart/2005/8/layout/StepDownProcess"/>
    <dgm:cxn modelId="{5AC218A8-C4F9-D544-8DBC-B0A2336DCEAE}" type="presOf" srcId="{310119BA-7FB4-8648-8DD8-150EDF661E16}" destId="{3BD71708-21AD-D649-83DC-5893F5198296}" srcOrd="0" destOrd="0" presId="urn:microsoft.com/office/officeart/2005/8/layout/StepDownProcess"/>
    <dgm:cxn modelId="{8F4B9449-B59A-E843-943F-DFBE7BDFAC87}" type="presOf" srcId="{655D17D9-82EA-924E-B982-C2C5AAEEB4B8}" destId="{4420A943-739B-3446-83CF-4CC9150554EF}" srcOrd="0" destOrd="0" presId="urn:microsoft.com/office/officeart/2005/8/layout/StepDownProcess"/>
    <dgm:cxn modelId="{4733EC1C-0719-534A-A737-8ABB5F393AE1}" srcId="{1F37D4EB-57D2-804D-AB49-F241A71F6A02}" destId="{A6E6345E-B68D-AC40-819A-03C492AB2D48}" srcOrd="0" destOrd="0" parTransId="{B8F4DB77-96BA-934A-B390-B590B68204E2}" sibTransId="{E12CA100-C166-6241-BB90-51721BBDB07C}"/>
    <dgm:cxn modelId="{B8BCAA87-2724-784D-BCCE-9275833762A6}" srcId="{A6E6345E-B68D-AC40-819A-03C492AB2D48}" destId="{1E5B15D3-DAEC-C14E-976C-CAFBCA928049}" srcOrd="0" destOrd="0" parTransId="{5647901F-7A1A-FB47-BCC6-68F791B28786}" sibTransId="{B2F920E3-8756-464E-8145-607939EDE9B0}"/>
    <dgm:cxn modelId="{832DF937-DD8A-8744-AB7D-23188D75DC50}" srcId="{D55B87C9-C855-F94B-8560-6DD16B31A7D6}" destId="{640DB307-6680-9649-9467-354447C3044F}" srcOrd="1" destOrd="0" parTransId="{9CE5E9EA-05A8-5742-8BA0-A73B48421A11}" sibTransId="{E31B3FE9-9927-F345-8E41-091745C592C3}"/>
    <dgm:cxn modelId="{A2996403-C8A1-7E48-9080-E2666CE19B7C}" type="presOf" srcId="{D55B87C9-C855-F94B-8560-6DD16B31A7D6}" destId="{596743A4-C2A0-314B-9AE5-AF1FE3BB310E}" srcOrd="0" destOrd="0" presId="urn:microsoft.com/office/officeart/2005/8/layout/StepDownProcess"/>
    <dgm:cxn modelId="{BE102E18-B648-584D-9D83-319D2ABFA9F2}" srcId="{655D17D9-82EA-924E-B982-C2C5AAEEB4B8}" destId="{310119BA-7FB4-8648-8DD8-150EDF661E16}" srcOrd="0" destOrd="0" parTransId="{D49BDAF6-D96F-CF4D-985E-76D9D6453E0B}" sibTransId="{5D5C8674-52FF-874C-AD8C-CEAD38849D39}"/>
    <dgm:cxn modelId="{FB0C942D-ACD8-0748-9D42-CB45EBF23417}" srcId="{1F37D4EB-57D2-804D-AB49-F241A71F6A02}" destId="{655D17D9-82EA-924E-B982-C2C5AAEEB4B8}" srcOrd="2" destOrd="0" parTransId="{080064AD-69A0-EE45-88E4-768AB61595A7}" sibTransId="{1EAC69CC-1DE8-A648-BFE4-2BB3265A2093}"/>
    <dgm:cxn modelId="{043193F4-E4DD-EF43-9687-9B82679BBBBA}" type="presOf" srcId="{A6E6345E-B68D-AC40-819A-03C492AB2D48}" destId="{9AC562C3-E8A2-8B42-A9D7-3BB9DBFEBBDF}" srcOrd="0" destOrd="0" presId="urn:microsoft.com/office/officeart/2005/8/layout/StepDownProcess"/>
    <dgm:cxn modelId="{BA0DA953-150A-694C-A53D-4FD8FCDD3425}" type="presOf" srcId="{1BAF1C97-C18E-F743-A71E-35BE0C2DCCE6}" destId="{B80B5AC4-7DDE-7C49-9B18-89FB90561642}" srcOrd="0" destOrd="2" presId="urn:microsoft.com/office/officeart/2005/8/layout/StepDownProcess"/>
    <dgm:cxn modelId="{052789E6-1E0A-654F-AF4E-36050B4F10C1}" srcId="{D55B87C9-C855-F94B-8560-6DD16B31A7D6}" destId="{DAB229BF-07DD-C046-AF2C-D8206F781528}" srcOrd="0" destOrd="0" parTransId="{A9DC410B-56F7-7144-808B-DE0D920EC42A}" sibTransId="{EFDD6BAE-D813-8146-86C3-B8E4A48F6FB0}"/>
    <dgm:cxn modelId="{1F56D463-605A-2547-95D5-FF996E504796}" type="presOf" srcId="{1F37D4EB-57D2-804D-AB49-F241A71F6A02}" destId="{82FF3524-5611-E244-B99B-0A3B75E754A9}" srcOrd="0" destOrd="0" presId="urn:microsoft.com/office/officeart/2005/8/layout/StepDownProcess"/>
    <dgm:cxn modelId="{1803412C-F26A-C543-8901-DAB22F2665B7}" type="presOf" srcId="{640DB307-6680-9649-9467-354447C3044F}" destId="{B80B5AC4-7DDE-7C49-9B18-89FB90561642}" srcOrd="0" destOrd="1" presId="urn:microsoft.com/office/officeart/2005/8/layout/StepDownProcess"/>
    <dgm:cxn modelId="{25FAD260-309A-1D45-83B5-A1E4812C890F}" srcId="{D55B87C9-C855-F94B-8560-6DD16B31A7D6}" destId="{1BAF1C97-C18E-F743-A71E-35BE0C2DCCE6}" srcOrd="2" destOrd="0" parTransId="{F3D92550-6A19-A246-A1F6-EEE053CB57BF}" sibTransId="{7DE3F21C-AC92-0444-8F15-E9FBCEADD9E5}"/>
    <dgm:cxn modelId="{B6EB53F9-9C67-6E43-A2BC-48A9D152172B}" srcId="{1F37D4EB-57D2-804D-AB49-F241A71F6A02}" destId="{D55B87C9-C855-F94B-8560-6DD16B31A7D6}" srcOrd="1" destOrd="0" parTransId="{DF74A6CE-D003-994A-977A-01120A36463B}" sibTransId="{0F913F34-622F-7149-8CC0-EE33F1E685BF}"/>
    <dgm:cxn modelId="{9CFF9CC0-1A15-DA48-928D-B282BED1B0B8}" type="presParOf" srcId="{82FF3524-5611-E244-B99B-0A3B75E754A9}" destId="{27E6662A-B17C-B841-8283-38135AC8EDE2}" srcOrd="0" destOrd="0" presId="urn:microsoft.com/office/officeart/2005/8/layout/StepDownProcess"/>
    <dgm:cxn modelId="{47DD0A7B-831F-1F45-BC69-C5169A684211}" type="presParOf" srcId="{27E6662A-B17C-B841-8283-38135AC8EDE2}" destId="{8169CC8C-92E9-5149-96DF-DFD3744A3443}" srcOrd="0" destOrd="0" presId="urn:microsoft.com/office/officeart/2005/8/layout/StepDownProcess"/>
    <dgm:cxn modelId="{90FC7C2C-8C75-CC47-81B6-E842CAE8111D}" type="presParOf" srcId="{27E6662A-B17C-B841-8283-38135AC8EDE2}" destId="{9AC562C3-E8A2-8B42-A9D7-3BB9DBFEBBDF}" srcOrd="1" destOrd="0" presId="urn:microsoft.com/office/officeart/2005/8/layout/StepDownProcess"/>
    <dgm:cxn modelId="{967B8B95-BE5B-BB4E-B6AB-A5ACF8C0B25C}" type="presParOf" srcId="{27E6662A-B17C-B841-8283-38135AC8EDE2}" destId="{9C936F26-E59C-4B48-B7B6-2FDF242AF599}" srcOrd="2" destOrd="0" presId="urn:microsoft.com/office/officeart/2005/8/layout/StepDownProcess"/>
    <dgm:cxn modelId="{7024A815-32E7-8C4E-B453-8C62DA3B6B41}" type="presParOf" srcId="{82FF3524-5611-E244-B99B-0A3B75E754A9}" destId="{9DAA1199-979D-154E-B52E-C5D45550FD45}" srcOrd="1" destOrd="0" presId="urn:microsoft.com/office/officeart/2005/8/layout/StepDownProcess"/>
    <dgm:cxn modelId="{A4569C54-A20D-544C-92C1-9850D7889523}" type="presParOf" srcId="{82FF3524-5611-E244-B99B-0A3B75E754A9}" destId="{FF720D5C-985A-D946-8851-143F7B66B219}" srcOrd="2" destOrd="0" presId="urn:microsoft.com/office/officeart/2005/8/layout/StepDownProcess"/>
    <dgm:cxn modelId="{3CD55131-8BAF-324D-A66A-906ECF950B2D}" type="presParOf" srcId="{FF720D5C-985A-D946-8851-143F7B66B219}" destId="{E51ECFA0-AD87-9B40-91CF-A964B9AE887D}" srcOrd="0" destOrd="0" presId="urn:microsoft.com/office/officeart/2005/8/layout/StepDownProcess"/>
    <dgm:cxn modelId="{5F561E5A-313F-724F-8650-5DF07AFE536E}" type="presParOf" srcId="{FF720D5C-985A-D946-8851-143F7B66B219}" destId="{596743A4-C2A0-314B-9AE5-AF1FE3BB310E}" srcOrd="1" destOrd="0" presId="urn:microsoft.com/office/officeart/2005/8/layout/StepDownProcess"/>
    <dgm:cxn modelId="{F4C23834-626C-3A4B-9830-F2AEFE7076DB}" type="presParOf" srcId="{FF720D5C-985A-D946-8851-143F7B66B219}" destId="{B80B5AC4-7DDE-7C49-9B18-89FB90561642}" srcOrd="2" destOrd="0" presId="urn:microsoft.com/office/officeart/2005/8/layout/StepDownProcess"/>
    <dgm:cxn modelId="{94524F81-938A-1940-BD4D-218D7BCCEC01}" type="presParOf" srcId="{82FF3524-5611-E244-B99B-0A3B75E754A9}" destId="{AE7C7969-B4C0-6D4F-A12C-DE8D20F823C9}" srcOrd="3" destOrd="0" presId="urn:microsoft.com/office/officeart/2005/8/layout/StepDownProcess"/>
    <dgm:cxn modelId="{DD7790E4-DAB3-C942-804F-6C0619F46C41}" type="presParOf" srcId="{82FF3524-5611-E244-B99B-0A3B75E754A9}" destId="{70F97E5C-742E-3541-8AAA-56140EF1CBB3}" srcOrd="4" destOrd="0" presId="urn:microsoft.com/office/officeart/2005/8/layout/StepDownProcess"/>
    <dgm:cxn modelId="{96F9E2D1-448D-8640-AA4E-82D44BD1F217}" type="presParOf" srcId="{70F97E5C-742E-3541-8AAA-56140EF1CBB3}" destId="{4420A943-739B-3446-83CF-4CC9150554EF}" srcOrd="0" destOrd="0" presId="urn:microsoft.com/office/officeart/2005/8/layout/StepDownProcess"/>
    <dgm:cxn modelId="{742F8C61-4C7F-9E4F-9188-9A393E32A701}" type="presParOf" srcId="{70F97E5C-742E-3541-8AAA-56140EF1CBB3}" destId="{3BD71708-21AD-D649-83DC-5893F5198296}" srcOrd="1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1F37D4EB-57D2-804D-AB49-F241A71F6A02}" type="doc">
      <dgm:prSet loTypeId="urn:microsoft.com/office/officeart/2005/8/layout/StepDownProcess" loCatId="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GB"/>
        </a:p>
      </dgm:t>
    </dgm:pt>
    <dgm:pt modelId="{A6E6345E-B68D-AC40-819A-03C492AB2D48}">
      <dgm:prSet phldrT="[Text]"/>
      <dgm:spPr>
        <a:ln>
          <a:solidFill>
            <a:srgbClr val="7030A0"/>
          </a:solidFill>
        </a:ln>
      </dgm:spPr>
      <dgm:t>
        <a:bodyPr/>
        <a:lstStyle/>
        <a:p>
          <a:r>
            <a:rPr lang="en-GB" dirty="0" smtClean="0"/>
            <a:t>Admission</a:t>
          </a:r>
          <a:endParaRPr lang="en-GB" dirty="0"/>
        </a:p>
      </dgm:t>
    </dgm:pt>
    <dgm:pt modelId="{B8F4DB77-96BA-934A-B390-B590B68204E2}" type="parTrans" cxnId="{4733EC1C-0719-534A-A737-8ABB5F393AE1}">
      <dgm:prSet/>
      <dgm:spPr/>
      <dgm:t>
        <a:bodyPr/>
        <a:lstStyle/>
        <a:p>
          <a:endParaRPr lang="en-GB"/>
        </a:p>
      </dgm:t>
    </dgm:pt>
    <dgm:pt modelId="{E12CA100-C166-6241-BB90-51721BBDB07C}" type="sibTrans" cxnId="{4733EC1C-0719-534A-A737-8ABB5F393AE1}">
      <dgm:prSet/>
      <dgm:spPr/>
      <dgm:t>
        <a:bodyPr/>
        <a:lstStyle/>
        <a:p>
          <a:endParaRPr lang="en-GB"/>
        </a:p>
      </dgm:t>
    </dgm:pt>
    <dgm:pt modelId="{1E5B15D3-DAEC-C14E-976C-CAFBCA928049}">
      <dgm:prSet phldrT="[Text]" custT="1"/>
      <dgm:spPr/>
      <dgm:t>
        <a:bodyPr/>
        <a:lstStyle/>
        <a:p>
          <a:r>
            <a:rPr lang="en-GB" sz="2400" dirty="0" smtClean="0"/>
            <a:t>Medicines reconciliation</a:t>
          </a:r>
          <a:endParaRPr lang="en-GB" sz="2400" dirty="0"/>
        </a:p>
      </dgm:t>
    </dgm:pt>
    <dgm:pt modelId="{5647901F-7A1A-FB47-BCC6-68F791B28786}" type="parTrans" cxnId="{B8BCAA87-2724-784D-BCCE-9275833762A6}">
      <dgm:prSet/>
      <dgm:spPr/>
      <dgm:t>
        <a:bodyPr/>
        <a:lstStyle/>
        <a:p>
          <a:endParaRPr lang="en-GB"/>
        </a:p>
      </dgm:t>
    </dgm:pt>
    <dgm:pt modelId="{B2F920E3-8756-464E-8145-607939EDE9B0}" type="sibTrans" cxnId="{B8BCAA87-2724-784D-BCCE-9275833762A6}">
      <dgm:prSet/>
      <dgm:spPr/>
      <dgm:t>
        <a:bodyPr/>
        <a:lstStyle/>
        <a:p>
          <a:endParaRPr lang="en-GB"/>
        </a:p>
      </dgm:t>
    </dgm:pt>
    <dgm:pt modelId="{D55B87C9-C855-F94B-8560-6DD16B31A7D6}">
      <dgm:prSet phldrT="[Text]"/>
      <dgm:spPr>
        <a:ln>
          <a:solidFill>
            <a:srgbClr val="7030A0"/>
          </a:solidFill>
        </a:ln>
      </dgm:spPr>
      <dgm:t>
        <a:bodyPr/>
        <a:lstStyle/>
        <a:p>
          <a:r>
            <a:rPr lang="en-GB" dirty="0" smtClean="0"/>
            <a:t>Stay </a:t>
          </a:r>
          <a:endParaRPr lang="en-GB" dirty="0"/>
        </a:p>
      </dgm:t>
    </dgm:pt>
    <dgm:pt modelId="{DF74A6CE-D003-994A-977A-01120A36463B}" type="parTrans" cxnId="{B6EB53F9-9C67-6E43-A2BC-48A9D152172B}">
      <dgm:prSet/>
      <dgm:spPr/>
      <dgm:t>
        <a:bodyPr/>
        <a:lstStyle/>
        <a:p>
          <a:endParaRPr lang="en-GB"/>
        </a:p>
      </dgm:t>
    </dgm:pt>
    <dgm:pt modelId="{0F913F34-622F-7149-8CC0-EE33F1E685BF}" type="sibTrans" cxnId="{B6EB53F9-9C67-6E43-A2BC-48A9D152172B}">
      <dgm:prSet/>
      <dgm:spPr/>
      <dgm:t>
        <a:bodyPr/>
        <a:lstStyle/>
        <a:p>
          <a:endParaRPr lang="en-GB"/>
        </a:p>
      </dgm:t>
    </dgm:pt>
    <dgm:pt modelId="{DAB229BF-07DD-C046-AF2C-D8206F781528}">
      <dgm:prSet phldrT="[Text]" custT="1"/>
      <dgm:spPr/>
      <dgm:t>
        <a:bodyPr/>
        <a:lstStyle/>
        <a:p>
          <a:r>
            <a:rPr lang="en-GB" sz="2400" dirty="0" smtClean="0"/>
            <a:t>Medicines optimisation</a:t>
          </a:r>
          <a:endParaRPr lang="en-GB" sz="2400" dirty="0"/>
        </a:p>
      </dgm:t>
    </dgm:pt>
    <dgm:pt modelId="{A9DC410B-56F7-7144-808B-DE0D920EC42A}" type="parTrans" cxnId="{052789E6-1E0A-654F-AF4E-36050B4F10C1}">
      <dgm:prSet/>
      <dgm:spPr/>
      <dgm:t>
        <a:bodyPr/>
        <a:lstStyle/>
        <a:p>
          <a:endParaRPr lang="en-GB"/>
        </a:p>
      </dgm:t>
    </dgm:pt>
    <dgm:pt modelId="{EFDD6BAE-D813-8146-86C3-B8E4A48F6FB0}" type="sibTrans" cxnId="{052789E6-1E0A-654F-AF4E-36050B4F10C1}">
      <dgm:prSet/>
      <dgm:spPr/>
      <dgm:t>
        <a:bodyPr/>
        <a:lstStyle/>
        <a:p>
          <a:endParaRPr lang="en-GB"/>
        </a:p>
      </dgm:t>
    </dgm:pt>
    <dgm:pt modelId="{655D17D9-82EA-924E-B982-C2C5AAEEB4B8}">
      <dgm:prSet phldrT="[Text]"/>
      <dgm:spPr>
        <a:ln>
          <a:solidFill>
            <a:srgbClr val="7030A0"/>
          </a:solidFill>
        </a:ln>
      </dgm:spPr>
      <dgm:t>
        <a:bodyPr/>
        <a:lstStyle/>
        <a:p>
          <a:r>
            <a:rPr lang="en-GB" dirty="0" smtClean="0"/>
            <a:t>Discharge </a:t>
          </a:r>
          <a:endParaRPr lang="en-GB" dirty="0"/>
        </a:p>
      </dgm:t>
    </dgm:pt>
    <dgm:pt modelId="{080064AD-69A0-EE45-88E4-768AB61595A7}" type="parTrans" cxnId="{FB0C942D-ACD8-0748-9D42-CB45EBF23417}">
      <dgm:prSet/>
      <dgm:spPr/>
      <dgm:t>
        <a:bodyPr/>
        <a:lstStyle/>
        <a:p>
          <a:endParaRPr lang="en-GB"/>
        </a:p>
      </dgm:t>
    </dgm:pt>
    <dgm:pt modelId="{1EAC69CC-1DE8-A648-BFE4-2BB3265A2093}" type="sibTrans" cxnId="{FB0C942D-ACD8-0748-9D42-CB45EBF23417}">
      <dgm:prSet/>
      <dgm:spPr/>
      <dgm:t>
        <a:bodyPr/>
        <a:lstStyle/>
        <a:p>
          <a:endParaRPr lang="en-GB"/>
        </a:p>
      </dgm:t>
    </dgm:pt>
    <dgm:pt modelId="{310119BA-7FB4-8648-8DD8-150EDF661E16}">
      <dgm:prSet phldrT="[Text]" custT="1"/>
      <dgm:spPr/>
      <dgm:t>
        <a:bodyPr/>
        <a:lstStyle/>
        <a:p>
          <a:r>
            <a:rPr lang="en-GB" sz="2400" dirty="0" smtClean="0"/>
            <a:t>Medicines review</a:t>
          </a:r>
          <a:endParaRPr lang="en-GB" sz="2400" dirty="0"/>
        </a:p>
      </dgm:t>
    </dgm:pt>
    <dgm:pt modelId="{D49BDAF6-D96F-CF4D-985E-76D9D6453E0B}" type="parTrans" cxnId="{BE102E18-B648-584D-9D83-319D2ABFA9F2}">
      <dgm:prSet/>
      <dgm:spPr/>
      <dgm:t>
        <a:bodyPr/>
        <a:lstStyle/>
        <a:p>
          <a:endParaRPr lang="en-GB"/>
        </a:p>
      </dgm:t>
    </dgm:pt>
    <dgm:pt modelId="{5D5C8674-52FF-874C-AD8C-CEAD38849D39}" type="sibTrans" cxnId="{BE102E18-B648-584D-9D83-319D2ABFA9F2}">
      <dgm:prSet/>
      <dgm:spPr/>
      <dgm:t>
        <a:bodyPr/>
        <a:lstStyle/>
        <a:p>
          <a:endParaRPr lang="en-GB"/>
        </a:p>
      </dgm:t>
    </dgm:pt>
    <dgm:pt modelId="{1BAF1C97-C18E-F743-A71E-35BE0C2DCCE6}">
      <dgm:prSet phldrT="[Text]" custT="1"/>
      <dgm:spPr/>
      <dgm:t>
        <a:bodyPr/>
        <a:lstStyle/>
        <a:p>
          <a:r>
            <a:rPr lang="en-GB" sz="2400" dirty="0" smtClean="0"/>
            <a:t>Safety</a:t>
          </a:r>
          <a:endParaRPr lang="en-GB" sz="2400" dirty="0"/>
        </a:p>
      </dgm:t>
    </dgm:pt>
    <dgm:pt modelId="{F3D92550-6A19-A246-A1F6-EEE053CB57BF}" type="parTrans" cxnId="{25FAD260-309A-1D45-83B5-A1E4812C890F}">
      <dgm:prSet/>
      <dgm:spPr/>
      <dgm:t>
        <a:bodyPr/>
        <a:lstStyle/>
        <a:p>
          <a:endParaRPr lang="en-GB"/>
        </a:p>
      </dgm:t>
    </dgm:pt>
    <dgm:pt modelId="{7DE3F21C-AC92-0444-8F15-E9FBCEADD9E5}" type="sibTrans" cxnId="{25FAD260-309A-1D45-83B5-A1E4812C890F}">
      <dgm:prSet/>
      <dgm:spPr/>
      <dgm:t>
        <a:bodyPr/>
        <a:lstStyle/>
        <a:p>
          <a:endParaRPr lang="en-GB"/>
        </a:p>
      </dgm:t>
    </dgm:pt>
    <dgm:pt modelId="{640DB307-6680-9649-9467-354447C3044F}">
      <dgm:prSet phldrT="[Text]" custT="1"/>
      <dgm:spPr/>
      <dgm:t>
        <a:bodyPr/>
        <a:lstStyle/>
        <a:p>
          <a:r>
            <a:rPr lang="en-GB" sz="2400" dirty="0" smtClean="0"/>
            <a:t>Prescribing </a:t>
          </a:r>
          <a:endParaRPr lang="en-GB" sz="2400" dirty="0"/>
        </a:p>
      </dgm:t>
    </dgm:pt>
    <dgm:pt modelId="{9CE5E9EA-05A8-5742-8BA0-A73B48421A11}" type="parTrans" cxnId="{832DF937-DD8A-8744-AB7D-23188D75DC50}">
      <dgm:prSet/>
      <dgm:spPr/>
      <dgm:t>
        <a:bodyPr/>
        <a:lstStyle/>
        <a:p>
          <a:endParaRPr lang="en-GB"/>
        </a:p>
      </dgm:t>
    </dgm:pt>
    <dgm:pt modelId="{E31B3FE9-9927-F345-8E41-091745C592C3}" type="sibTrans" cxnId="{832DF937-DD8A-8744-AB7D-23188D75DC50}">
      <dgm:prSet/>
      <dgm:spPr/>
      <dgm:t>
        <a:bodyPr/>
        <a:lstStyle/>
        <a:p>
          <a:endParaRPr lang="en-GB"/>
        </a:p>
      </dgm:t>
    </dgm:pt>
    <dgm:pt modelId="{82FF3524-5611-E244-B99B-0A3B75E754A9}" type="pres">
      <dgm:prSet presAssocID="{1F37D4EB-57D2-804D-AB49-F241A71F6A02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en-GB"/>
        </a:p>
      </dgm:t>
    </dgm:pt>
    <dgm:pt modelId="{27E6662A-B17C-B841-8283-38135AC8EDE2}" type="pres">
      <dgm:prSet presAssocID="{A6E6345E-B68D-AC40-819A-03C492AB2D48}" presName="composite" presStyleCnt="0"/>
      <dgm:spPr/>
    </dgm:pt>
    <dgm:pt modelId="{8169CC8C-92E9-5149-96DF-DFD3744A3443}" type="pres">
      <dgm:prSet presAssocID="{A6E6345E-B68D-AC40-819A-03C492AB2D48}" presName="bentUpArrow1" presStyleLbl="alignImgPlace1" presStyleIdx="0" presStyleCnt="2"/>
      <dgm:spPr>
        <a:ln>
          <a:solidFill>
            <a:srgbClr val="7030A0"/>
          </a:solidFill>
        </a:ln>
      </dgm:spPr>
    </dgm:pt>
    <dgm:pt modelId="{9AC562C3-E8A2-8B42-A9D7-3BB9DBFEBBDF}" type="pres">
      <dgm:prSet presAssocID="{A6E6345E-B68D-AC40-819A-03C492AB2D48}" presName="ParentText" presStyleLbl="node1" presStyleIdx="0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C936F26-E59C-4B48-B7B6-2FDF242AF599}" type="pres">
      <dgm:prSet presAssocID="{A6E6345E-B68D-AC40-819A-03C492AB2D48}" presName="ChildText" presStyleLbl="revTx" presStyleIdx="0" presStyleCnt="3" custScaleX="288258" custLinFactNeighborX="93370" custLinFactNeighborY="113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DAA1199-979D-154E-B52E-C5D45550FD45}" type="pres">
      <dgm:prSet presAssocID="{E12CA100-C166-6241-BB90-51721BBDB07C}" presName="sibTrans" presStyleCnt="0"/>
      <dgm:spPr/>
    </dgm:pt>
    <dgm:pt modelId="{FF720D5C-985A-D946-8851-143F7B66B219}" type="pres">
      <dgm:prSet presAssocID="{D55B87C9-C855-F94B-8560-6DD16B31A7D6}" presName="composite" presStyleCnt="0"/>
      <dgm:spPr/>
    </dgm:pt>
    <dgm:pt modelId="{E51ECFA0-AD87-9B40-91CF-A964B9AE887D}" type="pres">
      <dgm:prSet presAssocID="{D55B87C9-C855-F94B-8560-6DD16B31A7D6}" presName="bentUpArrow1" presStyleLbl="alignImgPlace1" presStyleIdx="1" presStyleCnt="2"/>
      <dgm:spPr>
        <a:ln>
          <a:solidFill>
            <a:srgbClr val="7030A0"/>
          </a:solidFill>
        </a:ln>
      </dgm:spPr>
    </dgm:pt>
    <dgm:pt modelId="{596743A4-C2A0-314B-9AE5-AF1FE3BB310E}" type="pres">
      <dgm:prSet presAssocID="{D55B87C9-C855-F94B-8560-6DD16B31A7D6}" presName="ParentText" presStyleLbl="node1" presStyleIdx="1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B80B5AC4-7DDE-7C49-9B18-89FB90561642}" type="pres">
      <dgm:prSet presAssocID="{D55B87C9-C855-F94B-8560-6DD16B31A7D6}" presName="ChildText" presStyleLbl="revTx" presStyleIdx="1" presStyleCnt="3" custScaleX="280023" custScaleY="140850" custLinFactX="2740" custLinFactNeighborX="100000" custLinFactNeighborY="419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AE7C7969-B4C0-6D4F-A12C-DE8D20F823C9}" type="pres">
      <dgm:prSet presAssocID="{0F913F34-622F-7149-8CC0-EE33F1E685BF}" presName="sibTrans" presStyleCnt="0"/>
      <dgm:spPr/>
    </dgm:pt>
    <dgm:pt modelId="{70F97E5C-742E-3541-8AAA-56140EF1CBB3}" type="pres">
      <dgm:prSet presAssocID="{655D17D9-82EA-924E-B982-C2C5AAEEB4B8}" presName="composite" presStyleCnt="0"/>
      <dgm:spPr/>
    </dgm:pt>
    <dgm:pt modelId="{4420A943-739B-3446-83CF-4CC9150554EF}" type="pres">
      <dgm:prSet presAssocID="{655D17D9-82EA-924E-B982-C2C5AAEEB4B8}" presName="ParentText" presStyleLbl="node1" presStyleIdx="2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3BD71708-21AD-D649-83DC-5893F5198296}" type="pres">
      <dgm:prSet presAssocID="{655D17D9-82EA-924E-B982-C2C5AAEEB4B8}" presName="FinalChildText" presStyleLbl="revTx" presStyleIdx="2" presStyleCnt="3" custScaleX="138915" custLinFactNeighborX="22997" custLinFactNeighborY="415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361520F0-E9C5-2641-BD45-3E2A5802ACEF}" type="presOf" srcId="{A6E6345E-B68D-AC40-819A-03C492AB2D48}" destId="{9AC562C3-E8A2-8B42-A9D7-3BB9DBFEBBDF}" srcOrd="0" destOrd="0" presId="urn:microsoft.com/office/officeart/2005/8/layout/StepDownProcess"/>
    <dgm:cxn modelId="{203867C7-51E0-FF4F-909F-A73D017DEB34}" type="presOf" srcId="{DAB229BF-07DD-C046-AF2C-D8206F781528}" destId="{B80B5AC4-7DDE-7C49-9B18-89FB90561642}" srcOrd="0" destOrd="0" presId="urn:microsoft.com/office/officeart/2005/8/layout/StepDownProcess"/>
    <dgm:cxn modelId="{8E36B076-6B64-F946-91A2-7DF67410849B}" type="presOf" srcId="{310119BA-7FB4-8648-8DD8-150EDF661E16}" destId="{3BD71708-21AD-D649-83DC-5893F5198296}" srcOrd="0" destOrd="0" presId="urn:microsoft.com/office/officeart/2005/8/layout/StepDownProcess"/>
    <dgm:cxn modelId="{4733EC1C-0719-534A-A737-8ABB5F393AE1}" srcId="{1F37D4EB-57D2-804D-AB49-F241A71F6A02}" destId="{A6E6345E-B68D-AC40-819A-03C492AB2D48}" srcOrd="0" destOrd="0" parTransId="{B8F4DB77-96BA-934A-B390-B590B68204E2}" sibTransId="{E12CA100-C166-6241-BB90-51721BBDB07C}"/>
    <dgm:cxn modelId="{51C703FE-25F6-3F40-BFC4-0E3CED44610C}" type="presOf" srcId="{1E5B15D3-DAEC-C14E-976C-CAFBCA928049}" destId="{9C936F26-E59C-4B48-B7B6-2FDF242AF599}" srcOrd="0" destOrd="0" presId="urn:microsoft.com/office/officeart/2005/8/layout/StepDownProcess"/>
    <dgm:cxn modelId="{456BEF10-487C-EC41-9D7F-CC277F36E0D0}" type="presOf" srcId="{655D17D9-82EA-924E-B982-C2C5AAEEB4B8}" destId="{4420A943-739B-3446-83CF-4CC9150554EF}" srcOrd="0" destOrd="0" presId="urn:microsoft.com/office/officeart/2005/8/layout/StepDownProcess"/>
    <dgm:cxn modelId="{D9219444-5D93-044C-B270-1FC1C05E21FB}" type="presOf" srcId="{1BAF1C97-C18E-F743-A71E-35BE0C2DCCE6}" destId="{B80B5AC4-7DDE-7C49-9B18-89FB90561642}" srcOrd="0" destOrd="2" presId="urn:microsoft.com/office/officeart/2005/8/layout/StepDownProcess"/>
    <dgm:cxn modelId="{B8BCAA87-2724-784D-BCCE-9275833762A6}" srcId="{A6E6345E-B68D-AC40-819A-03C492AB2D48}" destId="{1E5B15D3-DAEC-C14E-976C-CAFBCA928049}" srcOrd="0" destOrd="0" parTransId="{5647901F-7A1A-FB47-BCC6-68F791B28786}" sibTransId="{B2F920E3-8756-464E-8145-607939EDE9B0}"/>
    <dgm:cxn modelId="{832DF937-DD8A-8744-AB7D-23188D75DC50}" srcId="{D55B87C9-C855-F94B-8560-6DD16B31A7D6}" destId="{640DB307-6680-9649-9467-354447C3044F}" srcOrd="1" destOrd="0" parTransId="{9CE5E9EA-05A8-5742-8BA0-A73B48421A11}" sibTransId="{E31B3FE9-9927-F345-8E41-091745C592C3}"/>
    <dgm:cxn modelId="{BE102E18-B648-584D-9D83-319D2ABFA9F2}" srcId="{655D17D9-82EA-924E-B982-C2C5AAEEB4B8}" destId="{310119BA-7FB4-8648-8DD8-150EDF661E16}" srcOrd="0" destOrd="0" parTransId="{D49BDAF6-D96F-CF4D-985E-76D9D6453E0B}" sibTransId="{5D5C8674-52FF-874C-AD8C-CEAD38849D39}"/>
    <dgm:cxn modelId="{FB0C942D-ACD8-0748-9D42-CB45EBF23417}" srcId="{1F37D4EB-57D2-804D-AB49-F241A71F6A02}" destId="{655D17D9-82EA-924E-B982-C2C5AAEEB4B8}" srcOrd="2" destOrd="0" parTransId="{080064AD-69A0-EE45-88E4-768AB61595A7}" sibTransId="{1EAC69CC-1DE8-A648-BFE4-2BB3265A2093}"/>
    <dgm:cxn modelId="{052789E6-1E0A-654F-AF4E-36050B4F10C1}" srcId="{D55B87C9-C855-F94B-8560-6DD16B31A7D6}" destId="{DAB229BF-07DD-C046-AF2C-D8206F781528}" srcOrd="0" destOrd="0" parTransId="{A9DC410B-56F7-7144-808B-DE0D920EC42A}" sibTransId="{EFDD6BAE-D813-8146-86C3-B8E4A48F6FB0}"/>
    <dgm:cxn modelId="{45A7FA9C-671C-E047-811D-043C6184B68D}" type="presOf" srcId="{D55B87C9-C855-F94B-8560-6DD16B31A7D6}" destId="{596743A4-C2A0-314B-9AE5-AF1FE3BB310E}" srcOrd="0" destOrd="0" presId="urn:microsoft.com/office/officeart/2005/8/layout/StepDownProcess"/>
    <dgm:cxn modelId="{E6D99A41-0511-6146-8123-0965B6FC9D82}" type="presOf" srcId="{1F37D4EB-57D2-804D-AB49-F241A71F6A02}" destId="{82FF3524-5611-E244-B99B-0A3B75E754A9}" srcOrd="0" destOrd="0" presId="urn:microsoft.com/office/officeart/2005/8/layout/StepDownProcess"/>
    <dgm:cxn modelId="{E4C3BF7E-538A-F243-B29C-ACEB5B8CCC64}" type="presOf" srcId="{640DB307-6680-9649-9467-354447C3044F}" destId="{B80B5AC4-7DDE-7C49-9B18-89FB90561642}" srcOrd="0" destOrd="1" presId="urn:microsoft.com/office/officeart/2005/8/layout/StepDownProcess"/>
    <dgm:cxn modelId="{25FAD260-309A-1D45-83B5-A1E4812C890F}" srcId="{D55B87C9-C855-F94B-8560-6DD16B31A7D6}" destId="{1BAF1C97-C18E-F743-A71E-35BE0C2DCCE6}" srcOrd="2" destOrd="0" parTransId="{F3D92550-6A19-A246-A1F6-EEE053CB57BF}" sibTransId="{7DE3F21C-AC92-0444-8F15-E9FBCEADD9E5}"/>
    <dgm:cxn modelId="{B6EB53F9-9C67-6E43-A2BC-48A9D152172B}" srcId="{1F37D4EB-57D2-804D-AB49-F241A71F6A02}" destId="{D55B87C9-C855-F94B-8560-6DD16B31A7D6}" srcOrd="1" destOrd="0" parTransId="{DF74A6CE-D003-994A-977A-01120A36463B}" sibTransId="{0F913F34-622F-7149-8CC0-EE33F1E685BF}"/>
    <dgm:cxn modelId="{A0FEC449-C2F3-7E48-8AAD-63E6728013C0}" type="presParOf" srcId="{82FF3524-5611-E244-B99B-0A3B75E754A9}" destId="{27E6662A-B17C-B841-8283-38135AC8EDE2}" srcOrd="0" destOrd="0" presId="urn:microsoft.com/office/officeart/2005/8/layout/StepDownProcess"/>
    <dgm:cxn modelId="{828875B3-7EAA-1043-998B-A73AC3366FFB}" type="presParOf" srcId="{27E6662A-B17C-B841-8283-38135AC8EDE2}" destId="{8169CC8C-92E9-5149-96DF-DFD3744A3443}" srcOrd="0" destOrd="0" presId="urn:microsoft.com/office/officeart/2005/8/layout/StepDownProcess"/>
    <dgm:cxn modelId="{173BCA57-00A9-6142-AF1A-1322F572D658}" type="presParOf" srcId="{27E6662A-B17C-B841-8283-38135AC8EDE2}" destId="{9AC562C3-E8A2-8B42-A9D7-3BB9DBFEBBDF}" srcOrd="1" destOrd="0" presId="urn:microsoft.com/office/officeart/2005/8/layout/StepDownProcess"/>
    <dgm:cxn modelId="{CC367473-0BE2-604A-B9B8-DA31AAB99705}" type="presParOf" srcId="{27E6662A-B17C-B841-8283-38135AC8EDE2}" destId="{9C936F26-E59C-4B48-B7B6-2FDF242AF599}" srcOrd="2" destOrd="0" presId="urn:microsoft.com/office/officeart/2005/8/layout/StepDownProcess"/>
    <dgm:cxn modelId="{0522A656-BBA0-8F4C-A851-E5FD810BD045}" type="presParOf" srcId="{82FF3524-5611-E244-B99B-0A3B75E754A9}" destId="{9DAA1199-979D-154E-B52E-C5D45550FD45}" srcOrd="1" destOrd="0" presId="urn:microsoft.com/office/officeart/2005/8/layout/StepDownProcess"/>
    <dgm:cxn modelId="{FFB323D5-1465-0146-B633-5C02569AFC36}" type="presParOf" srcId="{82FF3524-5611-E244-B99B-0A3B75E754A9}" destId="{FF720D5C-985A-D946-8851-143F7B66B219}" srcOrd="2" destOrd="0" presId="urn:microsoft.com/office/officeart/2005/8/layout/StepDownProcess"/>
    <dgm:cxn modelId="{EF8241B0-D4E8-0245-9B67-AABB3B276BDC}" type="presParOf" srcId="{FF720D5C-985A-D946-8851-143F7B66B219}" destId="{E51ECFA0-AD87-9B40-91CF-A964B9AE887D}" srcOrd="0" destOrd="0" presId="urn:microsoft.com/office/officeart/2005/8/layout/StepDownProcess"/>
    <dgm:cxn modelId="{FE19CAAB-3062-3D4E-87C8-B6AFB92E005C}" type="presParOf" srcId="{FF720D5C-985A-D946-8851-143F7B66B219}" destId="{596743A4-C2A0-314B-9AE5-AF1FE3BB310E}" srcOrd="1" destOrd="0" presId="urn:microsoft.com/office/officeart/2005/8/layout/StepDownProcess"/>
    <dgm:cxn modelId="{6222D01B-5B2F-2441-AFA8-59F63BB834C3}" type="presParOf" srcId="{FF720D5C-985A-D946-8851-143F7B66B219}" destId="{B80B5AC4-7DDE-7C49-9B18-89FB90561642}" srcOrd="2" destOrd="0" presId="urn:microsoft.com/office/officeart/2005/8/layout/StepDownProcess"/>
    <dgm:cxn modelId="{ED833EA6-F1CC-1A47-AF8F-2A378B29791D}" type="presParOf" srcId="{82FF3524-5611-E244-B99B-0A3B75E754A9}" destId="{AE7C7969-B4C0-6D4F-A12C-DE8D20F823C9}" srcOrd="3" destOrd="0" presId="urn:microsoft.com/office/officeart/2005/8/layout/StepDownProcess"/>
    <dgm:cxn modelId="{E8EF7E11-513C-DD4D-A23D-8FC3B6B7237E}" type="presParOf" srcId="{82FF3524-5611-E244-B99B-0A3B75E754A9}" destId="{70F97E5C-742E-3541-8AAA-56140EF1CBB3}" srcOrd="4" destOrd="0" presId="urn:microsoft.com/office/officeart/2005/8/layout/StepDownProcess"/>
    <dgm:cxn modelId="{0EBCBEDF-C047-444F-822E-0F28CD22A182}" type="presParOf" srcId="{70F97E5C-742E-3541-8AAA-56140EF1CBB3}" destId="{4420A943-739B-3446-83CF-4CC9150554EF}" srcOrd="0" destOrd="0" presId="urn:microsoft.com/office/officeart/2005/8/layout/StepDownProcess"/>
    <dgm:cxn modelId="{B8A8D8E7-4180-0443-9565-9ADB470524E6}" type="presParOf" srcId="{70F97E5C-742E-3541-8AAA-56140EF1CBB3}" destId="{3BD71708-21AD-D649-83DC-5893F5198296}" srcOrd="1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69CC8C-92E9-5149-96DF-DFD3744A3443}">
      <dsp:nvSpPr>
        <dsp:cNvPr id="0" name=""/>
        <dsp:cNvSpPr/>
      </dsp:nvSpPr>
      <dsp:spPr>
        <a:xfrm rot="5400000">
          <a:off x="504136" y="1249602"/>
          <a:ext cx="1108595" cy="1262097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7030A0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9AC562C3-E8A2-8B42-A9D7-3BB9DBFEBBDF}">
      <dsp:nvSpPr>
        <dsp:cNvPr id="0" name=""/>
        <dsp:cNvSpPr/>
      </dsp:nvSpPr>
      <dsp:spPr>
        <a:xfrm>
          <a:off x="210426" y="20701"/>
          <a:ext cx="1866222" cy="1306295"/>
        </a:xfrm>
        <a:prstGeom prst="roundRect">
          <a:avLst>
            <a:gd name="adj" fmla="val 166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7030A0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800" kern="1200" dirty="0" smtClean="0"/>
            <a:t>Admission</a:t>
          </a:r>
          <a:endParaRPr lang="en-GB" sz="2800" kern="1200" dirty="0"/>
        </a:p>
      </dsp:txBody>
      <dsp:txXfrm>
        <a:off x="274206" y="84481"/>
        <a:ext cx="1738662" cy="1178735"/>
      </dsp:txXfrm>
    </dsp:sp>
    <dsp:sp modelId="{9C936F26-E59C-4B48-B7B6-2FDF242AF599}">
      <dsp:nvSpPr>
        <dsp:cNvPr id="0" name=""/>
        <dsp:cNvSpPr/>
      </dsp:nvSpPr>
      <dsp:spPr>
        <a:xfrm>
          <a:off x="2066346" y="157227"/>
          <a:ext cx="3912561" cy="10558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400" kern="1200" dirty="0" smtClean="0"/>
            <a:t>Medicines reconciliation</a:t>
          </a:r>
          <a:endParaRPr lang="en-GB" sz="2400" kern="1200" dirty="0"/>
        </a:p>
      </dsp:txBody>
      <dsp:txXfrm>
        <a:off x="2066346" y="157227"/>
        <a:ext cx="3912561" cy="1055805"/>
      </dsp:txXfrm>
    </dsp:sp>
    <dsp:sp modelId="{E51ECFA0-AD87-9B40-91CF-A964B9AE887D}">
      <dsp:nvSpPr>
        <dsp:cNvPr id="0" name=""/>
        <dsp:cNvSpPr/>
      </dsp:nvSpPr>
      <dsp:spPr>
        <a:xfrm rot="5400000">
          <a:off x="2664693" y="2808066"/>
          <a:ext cx="1108595" cy="1262097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7030A0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596743A4-C2A0-314B-9AE5-AF1FE3BB310E}">
      <dsp:nvSpPr>
        <dsp:cNvPr id="0" name=""/>
        <dsp:cNvSpPr/>
      </dsp:nvSpPr>
      <dsp:spPr>
        <a:xfrm>
          <a:off x="2370982" y="1579165"/>
          <a:ext cx="1866222" cy="1306295"/>
        </a:xfrm>
        <a:prstGeom prst="roundRect">
          <a:avLst>
            <a:gd name="adj" fmla="val 166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7030A0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800" kern="1200" dirty="0" smtClean="0"/>
            <a:t>Stay </a:t>
          </a:r>
          <a:endParaRPr lang="en-GB" sz="2800" kern="1200" dirty="0"/>
        </a:p>
      </dsp:txBody>
      <dsp:txXfrm>
        <a:off x="2434762" y="1642945"/>
        <a:ext cx="1738662" cy="1178735"/>
      </dsp:txXfrm>
    </dsp:sp>
    <dsp:sp modelId="{B80B5AC4-7DDE-7C49-9B18-89FB90561642}">
      <dsp:nvSpPr>
        <dsp:cNvPr id="0" name=""/>
        <dsp:cNvSpPr/>
      </dsp:nvSpPr>
      <dsp:spPr>
        <a:xfrm>
          <a:off x="4409971" y="1532382"/>
          <a:ext cx="3800787" cy="14871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400" kern="1200" dirty="0" smtClean="0"/>
            <a:t>Medicines optimisation</a:t>
          </a:r>
          <a:endParaRPr lang="en-GB" sz="2400" kern="1200" dirty="0"/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400" kern="1200" dirty="0" smtClean="0"/>
            <a:t>Prescribing </a:t>
          </a:r>
          <a:endParaRPr lang="en-GB" sz="2400" kern="1200" dirty="0"/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400" kern="1200" dirty="0" smtClean="0"/>
            <a:t>Safety</a:t>
          </a:r>
          <a:endParaRPr lang="en-GB" sz="2400" kern="1200" dirty="0"/>
        </a:p>
      </dsp:txBody>
      <dsp:txXfrm>
        <a:off x="4409971" y="1532382"/>
        <a:ext cx="3800787" cy="1487101"/>
      </dsp:txXfrm>
    </dsp:sp>
    <dsp:sp modelId="{4420A943-739B-3446-83CF-4CC9150554EF}">
      <dsp:nvSpPr>
        <dsp:cNvPr id="0" name=""/>
        <dsp:cNvSpPr/>
      </dsp:nvSpPr>
      <dsp:spPr>
        <a:xfrm>
          <a:off x="4531539" y="3046566"/>
          <a:ext cx="1866222" cy="1306295"/>
        </a:xfrm>
        <a:prstGeom prst="roundRect">
          <a:avLst>
            <a:gd name="adj" fmla="val 166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7030A0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800" kern="1200" dirty="0" smtClean="0"/>
            <a:t>Discharge </a:t>
          </a:r>
          <a:endParaRPr lang="en-GB" sz="2800" kern="1200" dirty="0"/>
        </a:p>
      </dsp:txBody>
      <dsp:txXfrm>
        <a:off x="4595319" y="3110346"/>
        <a:ext cx="1738662" cy="1178735"/>
      </dsp:txXfrm>
    </dsp:sp>
    <dsp:sp modelId="{3BD71708-21AD-D649-83DC-5893F5198296}">
      <dsp:nvSpPr>
        <dsp:cNvPr id="0" name=""/>
        <dsp:cNvSpPr/>
      </dsp:nvSpPr>
      <dsp:spPr>
        <a:xfrm>
          <a:off x="6344089" y="3215019"/>
          <a:ext cx="1885510" cy="10558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400" kern="1200" dirty="0" smtClean="0"/>
            <a:t>Medicines review</a:t>
          </a:r>
          <a:endParaRPr lang="en-GB" sz="2400" kern="1200" dirty="0"/>
        </a:p>
      </dsp:txBody>
      <dsp:txXfrm>
        <a:off x="6344089" y="3215019"/>
        <a:ext cx="1885510" cy="105580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69CC8C-92E9-5149-96DF-DFD3744A3443}">
      <dsp:nvSpPr>
        <dsp:cNvPr id="0" name=""/>
        <dsp:cNvSpPr/>
      </dsp:nvSpPr>
      <dsp:spPr>
        <a:xfrm rot="5400000">
          <a:off x="504136" y="1249602"/>
          <a:ext cx="1108595" cy="1262097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7030A0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9AC562C3-E8A2-8B42-A9D7-3BB9DBFEBBDF}">
      <dsp:nvSpPr>
        <dsp:cNvPr id="0" name=""/>
        <dsp:cNvSpPr/>
      </dsp:nvSpPr>
      <dsp:spPr>
        <a:xfrm>
          <a:off x="210426" y="20701"/>
          <a:ext cx="1866222" cy="1306295"/>
        </a:xfrm>
        <a:prstGeom prst="roundRect">
          <a:avLst>
            <a:gd name="adj" fmla="val 166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7030A0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800" kern="1200" dirty="0" smtClean="0"/>
            <a:t>Admission</a:t>
          </a:r>
          <a:endParaRPr lang="en-GB" sz="2800" kern="1200" dirty="0"/>
        </a:p>
      </dsp:txBody>
      <dsp:txXfrm>
        <a:off x="274206" y="84481"/>
        <a:ext cx="1738662" cy="1178735"/>
      </dsp:txXfrm>
    </dsp:sp>
    <dsp:sp modelId="{9C936F26-E59C-4B48-B7B6-2FDF242AF599}">
      <dsp:nvSpPr>
        <dsp:cNvPr id="0" name=""/>
        <dsp:cNvSpPr/>
      </dsp:nvSpPr>
      <dsp:spPr>
        <a:xfrm>
          <a:off x="2066346" y="53901"/>
          <a:ext cx="3912561" cy="126245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400" kern="1200" dirty="0" smtClean="0">
              <a:solidFill>
                <a:schemeClr val="tx1"/>
              </a:solidFill>
            </a:rPr>
            <a:t>Medicines reconciliation</a:t>
          </a:r>
          <a:endParaRPr lang="en-GB" sz="2400" kern="1200" dirty="0">
            <a:solidFill>
              <a:schemeClr val="tx1"/>
            </a:solidFill>
          </a:endParaRPr>
        </a:p>
      </dsp:txBody>
      <dsp:txXfrm>
        <a:off x="2066346" y="53901"/>
        <a:ext cx="3912561" cy="1262458"/>
      </dsp:txXfrm>
    </dsp:sp>
    <dsp:sp modelId="{E51ECFA0-AD87-9B40-91CF-A964B9AE887D}">
      <dsp:nvSpPr>
        <dsp:cNvPr id="0" name=""/>
        <dsp:cNvSpPr/>
      </dsp:nvSpPr>
      <dsp:spPr>
        <a:xfrm rot="5400000">
          <a:off x="2664693" y="2808066"/>
          <a:ext cx="1108595" cy="1262097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7030A0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596743A4-C2A0-314B-9AE5-AF1FE3BB310E}">
      <dsp:nvSpPr>
        <dsp:cNvPr id="0" name=""/>
        <dsp:cNvSpPr/>
      </dsp:nvSpPr>
      <dsp:spPr>
        <a:xfrm>
          <a:off x="2370982" y="1579165"/>
          <a:ext cx="1866222" cy="1306295"/>
        </a:xfrm>
        <a:prstGeom prst="roundRect">
          <a:avLst>
            <a:gd name="adj" fmla="val 166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7030A0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800" kern="1200" dirty="0" smtClean="0"/>
            <a:t>Stay </a:t>
          </a:r>
          <a:endParaRPr lang="en-GB" sz="2800" kern="1200" dirty="0"/>
        </a:p>
      </dsp:txBody>
      <dsp:txXfrm>
        <a:off x="2434762" y="1642945"/>
        <a:ext cx="1738662" cy="1178735"/>
      </dsp:txXfrm>
    </dsp:sp>
    <dsp:sp modelId="{B80B5AC4-7DDE-7C49-9B18-89FB90561642}">
      <dsp:nvSpPr>
        <dsp:cNvPr id="0" name=""/>
        <dsp:cNvSpPr/>
      </dsp:nvSpPr>
      <dsp:spPr>
        <a:xfrm>
          <a:off x="4409971" y="1532382"/>
          <a:ext cx="3800787" cy="14871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400" kern="1200" dirty="0" smtClean="0">
              <a:solidFill>
                <a:srgbClr val="00A6D4"/>
              </a:solidFill>
            </a:rPr>
            <a:t>Medicines optimisation</a:t>
          </a:r>
          <a:endParaRPr lang="en-GB" sz="2400" kern="1200" dirty="0">
            <a:solidFill>
              <a:srgbClr val="00A6D4"/>
            </a:solidFill>
          </a:endParaRP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400" kern="1200" dirty="0" smtClean="0">
              <a:solidFill>
                <a:srgbClr val="00A6D4"/>
              </a:solidFill>
            </a:rPr>
            <a:t>Prescribing </a:t>
          </a:r>
          <a:endParaRPr lang="en-GB" sz="2400" kern="1200" dirty="0">
            <a:solidFill>
              <a:srgbClr val="00A6D4"/>
            </a:solidFill>
          </a:endParaRP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400" kern="1200" dirty="0" smtClean="0">
              <a:solidFill>
                <a:srgbClr val="00A6D4"/>
              </a:solidFill>
            </a:rPr>
            <a:t>Safety</a:t>
          </a:r>
          <a:r>
            <a:rPr lang="en-GB" sz="2400" kern="1200" dirty="0" smtClean="0"/>
            <a:t> </a:t>
          </a:r>
          <a:endParaRPr lang="en-GB" sz="2400" kern="1200" dirty="0"/>
        </a:p>
      </dsp:txBody>
      <dsp:txXfrm>
        <a:off x="4409971" y="1532382"/>
        <a:ext cx="3800787" cy="1487101"/>
      </dsp:txXfrm>
    </dsp:sp>
    <dsp:sp modelId="{4420A943-739B-3446-83CF-4CC9150554EF}">
      <dsp:nvSpPr>
        <dsp:cNvPr id="0" name=""/>
        <dsp:cNvSpPr/>
      </dsp:nvSpPr>
      <dsp:spPr>
        <a:xfrm>
          <a:off x="4531539" y="3046566"/>
          <a:ext cx="1866222" cy="1306295"/>
        </a:xfrm>
        <a:prstGeom prst="roundRect">
          <a:avLst>
            <a:gd name="adj" fmla="val 166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7030A0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800" kern="1200" dirty="0" smtClean="0"/>
            <a:t>Discharge </a:t>
          </a:r>
          <a:endParaRPr lang="en-GB" sz="2800" kern="1200" dirty="0"/>
        </a:p>
      </dsp:txBody>
      <dsp:txXfrm>
        <a:off x="4595319" y="3110346"/>
        <a:ext cx="1738662" cy="1178735"/>
      </dsp:txXfrm>
    </dsp:sp>
    <dsp:sp modelId="{3BD71708-21AD-D649-83DC-5893F5198296}">
      <dsp:nvSpPr>
        <dsp:cNvPr id="0" name=""/>
        <dsp:cNvSpPr/>
      </dsp:nvSpPr>
      <dsp:spPr>
        <a:xfrm>
          <a:off x="6344089" y="3215019"/>
          <a:ext cx="1885510" cy="10558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400" kern="1200" dirty="0" smtClean="0">
              <a:solidFill>
                <a:srgbClr val="00A6D4"/>
              </a:solidFill>
            </a:rPr>
            <a:t>Medicines review</a:t>
          </a:r>
          <a:endParaRPr lang="en-GB" sz="2400" kern="1200" dirty="0">
            <a:solidFill>
              <a:srgbClr val="00A6D4"/>
            </a:solidFill>
          </a:endParaRPr>
        </a:p>
      </dsp:txBody>
      <dsp:txXfrm>
        <a:off x="6344089" y="3215019"/>
        <a:ext cx="1885510" cy="105580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69CC8C-92E9-5149-96DF-DFD3744A3443}">
      <dsp:nvSpPr>
        <dsp:cNvPr id="0" name=""/>
        <dsp:cNvSpPr/>
      </dsp:nvSpPr>
      <dsp:spPr>
        <a:xfrm rot="5400000">
          <a:off x="504136" y="1249602"/>
          <a:ext cx="1108595" cy="1262097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7030A0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9AC562C3-E8A2-8B42-A9D7-3BB9DBFEBBDF}">
      <dsp:nvSpPr>
        <dsp:cNvPr id="0" name=""/>
        <dsp:cNvSpPr/>
      </dsp:nvSpPr>
      <dsp:spPr>
        <a:xfrm>
          <a:off x="210426" y="20701"/>
          <a:ext cx="1866222" cy="1306295"/>
        </a:xfrm>
        <a:prstGeom prst="roundRect">
          <a:avLst>
            <a:gd name="adj" fmla="val 166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7030A0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800" kern="1200" dirty="0" smtClean="0"/>
            <a:t>Admission</a:t>
          </a:r>
          <a:endParaRPr lang="en-GB" sz="2800" kern="1200" dirty="0"/>
        </a:p>
      </dsp:txBody>
      <dsp:txXfrm>
        <a:off x="274206" y="84481"/>
        <a:ext cx="1738662" cy="1178735"/>
      </dsp:txXfrm>
    </dsp:sp>
    <dsp:sp modelId="{9C936F26-E59C-4B48-B7B6-2FDF242AF599}">
      <dsp:nvSpPr>
        <dsp:cNvPr id="0" name=""/>
        <dsp:cNvSpPr/>
      </dsp:nvSpPr>
      <dsp:spPr>
        <a:xfrm>
          <a:off x="2066346" y="157227"/>
          <a:ext cx="3912561" cy="10558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400" kern="1200" dirty="0" smtClean="0">
              <a:solidFill>
                <a:srgbClr val="00A6D4"/>
              </a:solidFill>
            </a:rPr>
            <a:t>Medicines reconciliation</a:t>
          </a:r>
          <a:endParaRPr lang="en-GB" sz="2400" kern="1200" dirty="0">
            <a:solidFill>
              <a:srgbClr val="00A6D4"/>
            </a:solidFill>
          </a:endParaRPr>
        </a:p>
      </dsp:txBody>
      <dsp:txXfrm>
        <a:off x="2066346" y="157227"/>
        <a:ext cx="3912561" cy="1055805"/>
      </dsp:txXfrm>
    </dsp:sp>
    <dsp:sp modelId="{E51ECFA0-AD87-9B40-91CF-A964B9AE887D}">
      <dsp:nvSpPr>
        <dsp:cNvPr id="0" name=""/>
        <dsp:cNvSpPr/>
      </dsp:nvSpPr>
      <dsp:spPr>
        <a:xfrm rot="5400000">
          <a:off x="2664693" y="2808066"/>
          <a:ext cx="1108595" cy="1262097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7030A0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596743A4-C2A0-314B-9AE5-AF1FE3BB310E}">
      <dsp:nvSpPr>
        <dsp:cNvPr id="0" name=""/>
        <dsp:cNvSpPr/>
      </dsp:nvSpPr>
      <dsp:spPr>
        <a:xfrm>
          <a:off x="2370982" y="1579165"/>
          <a:ext cx="1866222" cy="1306295"/>
        </a:xfrm>
        <a:prstGeom prst="roundRect">
          <a:avLst>
            <a:gd name="adj" fmla="val 166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7030A0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800" kern="1200" dirty="0" smtClean="0"/>
            <a:t>Stay </a:t>
          </a:r>
          <a:endParaRPr lang="en-GB" sz="2800" kern="1200" dirty="0"/>
        </a:p>
      </dsp:txBody>
      <dsp:txXfrm>
        <a:off x="2434762" y="1642945"/>
        <a:ext cx="1738662" cy="1178735"/>
      </dsp:txXfrm>
    </dsp:sp>
    <dsp:sp modelId="{B80B5AC4-7DDE-7C49-9B18-89FB90561642}">
      <dsp:nvSpPr>
        <dsp:cNvPr id="0" name=""/>
        <dsp:cNvSpPr/>
      </dsp:nvSpPr>
      <dsp:spPr>
        <a:xfrm>
          <a:off x="4409971" y="1532382"/>
          <a:ext cx="3800787" cy="14871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400" kern="1200" dirty="0" smtClean="0"/>
            <a:t>Medicines optimisation</a:t>
          </a:r>
          <a:endParaRPr lang="en-GB" sz="2400" kern="1200" dirty="0"/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400" kern="1200" dirty="0" smtClean="0">
              <a:solidFill>
                <a:srgbClr val="00A6D4"/>
              </a:solidFill>
            </a:rPr>
            <a:t>Prescribing  </a:t>
          </a:r>
          <a:endParaRPr lang="en-GB" sz="2400" kern="1200" dirty="0">
            <a:solidFill>
              <a:srgbClr val="00A6D4"/>
            </a:solidFill>
          </a:endParaRP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400" kern="1200" dirty="0" smtClean="0">
              <a:solidFill>
                <a:srgbClr val="00A6D4"/>
              </a:solidFill>
            </a:rPr>
            <a:t>Safety </a:t>
          </a:r>
          <a:endParaRPr lang="en-GB" sz="2400" kern="1200" dirty="0">
            <a:solidFill>
              <a:srgbClr val="00A6D4"/>
            </a:solidFill>
          </a:endParaRPr>
        </a:p>
      </dsp:txBody>
      <dsp:txXfrm>
        <a:off x="4409971" y="1532382"/>
        <a:ext cx="3800787" cy="1487101"/>
      </dsp:txXfrm>
    </dsp:sp>
    <dsp:sp modelId="{4420A943-739B-3446-83CF-4CC9150554EF}">
      <dsp:nvSpPr>
        <dsp:cNvPr id="0" name=""/>
        <dsp:cNvSpPr/>
      </dsp:nvSpPr>
      <dsp:spPr>
        <a:xfrm>
          <a:off x="4531539" y="3046566"/>
          <a:ext cx="1866222" cy="1306295"/>
        </a:xfrm>
        <a:prstGeom prst="roundRect">
          <a:avLst>
            <a:gd name="adj" fmla="val 166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7030A0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800" kern="1200" dirty="0" smtClean="0"/>
            <a:t>Discharge </a:t>
          </a:r>
          <a:endParaRPr lang="en-GB" sz="2800" kern="1200" dirty="0"/>
        </a:p>
      </dsp:txBody>
      <dsp:txXfrm>
        <a:off x="4595319" y="3110346"/>
        <a:ext cx="1738662" cy="1178735"/>
      </dsp:txXfrm>
    </dsp:sp>
    <dsp:sp modelId="{3BD71708-21AD-D649-83DC-5893F5198296}">
      <dsp:nvSpPr>
        <dsp:cNvPr id="0" name=""/>
        <dsp:cNvSpPr/>
      </dsp:nvSpPr>
      <dsp:spPr>
        <a:xfrm>
          <a:off x="6344089" y="3215019"/>
          <a:ext cx="1885510" cy="10558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400" kern="1200" dirty="0" smtClean="0">
              <a:solidFill>
                <a:srgbClr val="00A6D4"/>
              </a:solidFill>
            </a:rPr>
            <a:t>Medicines review</a:t>
          </a:r>
          <a:endParaRPr lang="en-GB" sz="2400" kern="1200" dirty="0">
            <a:solidFill>
              <a:srgbClr val="00A6D4"/>
            </a:solidFill>
          </a:endParaRPr>
        </a:p>
      </dsp:txBody>
      <dsp:txXfrm>
        <a:off x="6344089" y="3215019"/>
        <a:ext cx="1885510" cy="105580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69CC8C-92E9-5149-96DF-DFD3744A3443}">
      <dsp:nvSpPr>
        <dsp:cNvPr id="0" name=""/>
        <dsp:cNvSpPr/>
      </dsp:nvSpPr>
      <dsp:spPr>
        <a:xfrm rot="5400000">
          <a:off x="504136" y="1249602"/>
          <a:ext cx="1108595" cy="1262097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7030A0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9AC562C3-E8A2-8B42-A9D7-3BB9DBFEBBDF}">
      <dsp:nvSpPr>
        <dsp:cNvPr id="0" name=""/>
        <dsp:cNvSpPr/>
      </dsp:nvSpPr>
      <dsp:spPr>
        <a:xfrm>
          <a:off x="210426" y="20701"/>
          <a:ext cx="1866222" cy="1306295"/>
        </a:xfrm>
        <a:prstGeom prst="roundRect">
          <a:avLst>
            <a:gd name="adj" fmla="val 166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7030A0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800" kern="1200" dirty="0" smtClean="0"/>
            <a:t>Admission</a:t>
          </a:r>
          <a:endParaRPr lang="en-GB" sz="2800" kern="1200" dirty="0"/>
        </a:p>
      </dsp:txBody>
      <dsp:txXfrm>
        <a:off x="274206" y="84481"/>
        <a:ext cx="1738662" cy="1178735"/>
      </dsp:txXfrm>
    </dsp:sp>
    <dsp:sp modelId="{9C936F26-E59C-4B48-B7B6-2FDF242AF599}">
      <dsp:nvSpPr>
        <dsp:cNvPr id="0" name=""/>
        <dsp:cNvSpPr/>
      </dsp:nvSpPr>
      <dsp:spPr>
        <a:xfrm>
          <a:off x="2066346" y="157227"/>
          <a:ext cx="3912561" cy="10558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400" kern="1200" dirty="0" smtClean="0">
              <a:solidFill>
                <a:srgbClr val="00A6D4"/>
              </a:solidFill>
            </a:rPr>
            <a:t>Medicines reconciliation</a:t>
          </a:r>
          <a:endParaRPr lang="en-GB" sz="2400" kern="1200" dirty="0">
            <a:solidFill>
              <a:srgbClr val="00A6D4"/>
            </a:solidFill>
          </a:endParaRPr>
        </a:p>
      </dsp:txBody>
      <dsp:txXfrm>
        <a:off x="2066346" y="157227"/>
        <a:ext cx="3912561" cy="1055805"/>
      </dsp:txXfrm>
    </dsp:sp>
    <dsp:sp modelId="{E51ECFA0-AD87-9B40-91CF-A964B9AE887D}">
      <dsp:nvSpPr>
        <dsp:cNvPr id="0" name=""/>
        <dsp:cNvSpPr/>
      </dsp:nvSpPr>
      <dsp:spPr>
        <a:xfrm rot="5400000">
          <a:off x="2664693" y="2808066"/>
          <a:ext cx="1108595" cy="1262097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7030A0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596743A4-C2A0-314B-9AE5-AF1FE3BB310E}">
      <dsp:nvSpPr>
        <dsp:cNvPr id="0" name=""/>
        <dsp:cNvSpPr/>
      </dsp:nvSpPr>
      <dsp:spPr>
        <a:xfrm>
          <a:off x="2370982" y="1579165"/>
          <a:ext cx="1866222" cy="1306295"/>
        </a:xfrm>
        <a:prstGeom prst="roundRect">
          <a:avLst>
            <a:gd name="adj" fmla="val 166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7030A0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800" kern="1200" dirty="0" smtClean="0"/>
            <a:t>Stay </a:t>
          </a:r>
          <a:endParaRPr lang="en-GB" sz="2800" kern="1200" dirty="0"/>
        </a:p>
      </dsp:txBody>
      <dsp:txXfrm>
        <a:off x="2434762" y="1642945"/>
        <a:ext cx="1738662" cy="1178735"/>
      </dsp:txXfrm>
    </dsp:sp>
    <dsp:sp modelId="{B80B5AC4-7DDE-7C49-9B18-89FB90561642}">
      <dsp:nvSpPr>
        <dsp:cNvPr id="0" name=""/>
        <dsp:cNvSpPr/>
      </dsp:nvSpPr>
      <dsp:spPr>
        <a:xfrm>
          <a:off x="4409971" y="1532382"/>
          <a:ext cx="3800787" cy="14871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400" kern="1200" dirty="0" smtClean="0">
              <a:solidFill>
                <a:srgbClr val="00A6D4"/>
              </a:solidFill>
            </a:rPr>
            <a:t>Medicines optimisation</a:t>
          </a:r>
          <a:endParaRPr lang="en-GB" sz="2400" kern="1200" dirty="0">
            <a:solidFill>
              <a:srgbClr val="00A6D4"/>
            </a:solidFill>
          </a:endParaRP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400" kern="1200" dirty="0" smtClean="0"/>
            <a:t>Prescribing</a:t>
          </a:r>
          <a:endParaRPr lang="en-GB" sz="2400" kern="1200" dirty="0"/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400" kern="1200" dirty="0" smtClean="0">
              <a:solidFill>
                <a:srgbClr val="00A6D4"/>
              </a:solidFill>
            </a:rPr>
            <a:t>Safety </a:t>
          </a:r>
          <a:endParaRPr lang="en-GB" sz="2400" kern="1200" dirty="0">
            <a:solidFill>
              <a:srgbClr val="00A6D4"/>
            </a:solidFill>
          </a:endParaRPr>
        </a:p>
      </dsp:txBody>
      <dsp:txXfrm>
        <a:off x="4409971" y="1532382"/>
        <a:ext cx="3800787" cy="1487101"/>
      </dsp:txXfrm>
    </dsp:sp>
    <dsp:sp modelId="{4420A943-739B-3446-83CF-4CC9150554EF}">
      <dsp:nvSpPr>
        <dsp:cNvPr id="0" name=""/>
        <dsp:cNvSpPr/>
      </dsp:nvSpPr>
      <dsp:spPr>
        <a:xfrm>
          <a:off x="4531539" y="3046566"/>
          <a:ext cx="1866222" cy="1306295"/>
        </a:xfrm>
        <a:prstGeom prst="roundRect">
          <a:avLst>
            <a:gd name="adj" fmla="val 166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7030A0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800" kern="1200" dirty="0" smtClean="0"/>
            <a:t>Discharge </a:t>
          </a:r>
          <a:endParaRPr lang="en-GB" sz="2800" kern="1200" dirty="0"/>
        </a:p>
      </dsp:txBody>
      <dsp:txXfrm>
        <a:off x="4595319" y="3110346"/>
        <a:ext cx="1738662" cy="1178735"/>
      </dsp:txXfrm>
    </dsp:sp>
    <dsp:sp modelId="{3BD71708-21AD-D649-83DC-5893F5198296}">
      <dsp:nvSpPr>
        <dsp:cNvPr id="0" name=""/>
        <dsp:cNvSpPr/>
      </dsp:nvSpPr>
      <dsp:spPr>
        <a:xfrm>
          <a:off x="6344089" y="3215019"/>
          <a:ext cx="1885510" cy="10558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400" kern="1200" dirty="0" smtClean="0">
              <a:solidFill>
                <a:srgbClr val="00A6D4"/>
              </a:solidFill>
            </a:rPr>
            <a:t>Medicines review</a:t>
          </a:r>
          <a:endParaRPr lang="en-GB" sz="2400" kern="1200" dirty="0">
            <a:solidFill>
              <a:srgbClr val="00A6D4"/>
            </a:solidFill>
          </a:endParaRPr>
        </a:p>
      </dsp:txBody>
      <dsp:txXfrm>
        <a:off x="6344089" y="3215019"/>
        <a:ext cx="1885510" cy="105580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69CC8C-92E9-5149-96DF-DFD3744A3443}">
      <dsp:nvSpPr>
        <dsp:cNvPr id="0" name=""/>
        <dsp:cNvSpPr/>
      </dsp:nvSpPr>
      <dsp:spPr>
        <a:xfrm rot="5400000">
          <a:off x="504136" y="1249602"/>
          <a:ext cx="1108595" cy="1262097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7030A0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9AC562C3-E8A2-8B42-A9D7-3BB9DBFEBBDF}">
      <dsp:nvSpPr>
        <dsp:cNvPr id="0" name=""/>
        <dsp:cNvSpPr/>
      </dsp:nvSpPr>
      <dsp:spPr>
        <a:xfrm>
          <a:off x="210426" y="20701"/>
          <a:ext cx="1866222" cy="1306295"/>
        </a:xfrm>
        <a:prstGeom prst="roundRect">
          <a:avLst>
            <a:gd name="adj" fmla="val 166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7030A0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800" kern="1200" dirty="0" smtClean="0"/>
            <a:t>Admission</a:t>
          </a:r>
          <a:endParaRPr lang="en-GB" sz="2800" kern="1200" dirty="0"/>
        </a:p>
      </dsp:txBody>
      <dsp:txXfrm>
        <a:off x="274206" y="84481"/>
        <a:ext cx="1738662" cy="1178735"/>
      </dsp:txXfrm>
    </dsp:sp>
    <dsp:sp modelId="{9C936F26-E59C-4B48-B7B6-2FDF242AF599}">
      <dsp:nvSpPr>
        <dsp:cNvPr id="0" name=""/>
        <dsp:cNvSpPr/>
      </dsp:nvSpPr>
      <dsp:spPr>
        <a:xfrm>
          <a:off x="2066346" y="157227"/>
          <a:ext cx="3912561" cy="10558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400" kern="1200" dirty="0" smtClean="0">
              <a:solidFill>
                <a:srgbClr val="00A6D4"/>
              </a:solidFill>
            </a:rPr>
            <a:t>Medicines reconciliation</a:t>
          </a:r>
          <a:endParaRPr lang="en-GB" sz="2400" kern="1200" dirty="0">
            <a:solidFill>
              <a:srgbClr val="00A6D4"/>
            </a:solidFill>
          </a:endParaRPr>
        </a:p>
      </dsp:txBody>
      <dsp:txXfrm>
        <a:off x="2066346" y="157227"/>
        <a:ext cx="3912561" cy="1055805"/>
      </dsp:txXfrm>
    </dsp:sp>
    <dsp:sp modelId="{E51ECFA0-AD87-9B40-91CF-A964B9AE887D}">
      <dsp:nvSpPr>
        <dsp:cNvPr id="0" name=""/>
        <dsp:cNvSpPr/>
      </dsp:nvSpPr>
      <dsp:spPr>
        <a:xfrm rot="5400000">
          <a:off x="2664693" y="2808066"/>
          <a:ext cx="1108595" cy="1262097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7030A0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596743A4-C2A0-314B-9AE5-AF1FE3BB310E}">
      <dsp:nvSpPr>
        <dsp:cNvPr id="0" name=""/>
        <dsp:cNvSpPr/>
      </dsp:nvSpPr>
      <dsp:spPr>
        <a:xfrm>
          <a:off x="2370982" y="1579165"/>
          <a:ext cx="1866222" cy="1306295"/>
        </a:xfrm>
        <a:prstGeom prst="roundRect">
          <a:avLst>
            <a:gd name="adj" fmla="val 166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7030A0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800" kern="1200" dirty="0" smtClean="0"/>
            <a:t>Stay </a:t>
          </a:r>
          <a:endParaRPr lang="en-GB" sz="2800" kern="1200" dirty="0"/>
        </a:p>
      </dsp:txBody>
      <dsp:txXfrm>
        <a:off x="2434762" y="1642945"/>
        <a:ext cx="1738662" cy="1178735"/>
      </dsp:txXfrm>
    </dsp:sp>
    <dsp:sp modelId="{B80B5AC4-7DDE-7C49-9B18-89FB90561642}">
      <dsp:nvSpPr>
        <dsp:cNvPr id="0" name=""/>
        <dsp:cNvSpPr/>
      </dsp:nvSpPr>
      <dsp:spPr>
        <a:xfrm>
          <a:off x="4409971" y="1532382"/>
          <a:ext cx="3800787" cy="14871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400" kern="1200" dirty="0" smtClean="0">
              <a:solidFill>
                <a:srgbClr val="00A6D4"/>
              </a:solidFill>
            </a:rPr>
            <a:t>Medicines optimisation</a:t>
          </a:r>
          <a:endParaRPr lang="en-GB" sz="2400" kern="1200" dirty="0">
            <a:solidFill>
              <a:srgbClr val="00A6D4"/>
            </a:solidFill>
          </a:endParaRP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400" kern="1200" dirty="0" smtClean="0">
              <a:solidFill>
                <a:srgbClr val="00A6D4"/>
              </a:solidFill>
            </a:rPr>
            <a:t>Prescribing  </a:t>
          </a:r>
          <a:endParaRPr lang="en-GB" sz="2400" kern="1200" dirty="0">
            <a:solidFill>
              <a:srgbClr val="00A6D4"/>
            </a:solidFill>
          </a:endParaRP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400" kern="1200" dirty="0" smtClean="0"/>
            <a:t>Safety </a:t>
          </a:r>
          <a:endParaRPr lang="en-GB" sz="2400" kern="1200" dirty="0"/>
        </a:p>
      </dsp:txBody>
      <dsp:txXfrm>
        <a:off x="4409971" y="1532382"/>
        <a:ext cx="3800787" cy="1487101"/>
      </dsp:txXfrm>
    </dsp:sp>
    <dsp:sp modelId="{4420A943-739B-3446-83CF-4CC9150554EF}">
      <dsp:nvSpPr>
        <dsp:cNvPr id="0" name=""/>
        <dsp:cNvSpPr/>
      </dsp:nvSpPr>
      <dsp:spPr>
        <a:xfrm>
          <a:off x="4531539" y="3046566"/>
          <a:ext cx="1866222" cy="1306295"/>
        </a:xfrm>
        <a:prstGeom prst="roundRect">
          <a:avLst>
            <a:gd name="adj" fmla="val 166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7030A0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800" kern="1200" dirty="0" smtClean="0"/>
            <a:t>Discharge </a:t>
          </a:r>
          <a:endParaRPr lang="en-GB" sz="2800" kern="1200" dirty="0"/>
        </a:p>
      </dsp:txBody>
      <dsp:txXfrm>
        <a:off x="4595319" y="3110346"/>
        <a:ext cx="1738662" cy="1178735"/>
      </dsp:txXfrm>
    </dsp:sp>
    <dsp:sp modelId="{3BD71708-21AD-D649-83DC-5893F5198296}">
      <dsp:nvSpPr>
        <dsp:cNvPr id="0" name=""/>
        <dsp:cNvSpPr/>
      </dsp:nvSpPr>
      <dsp:spPr>
        <a:xfrm>
          <a:off x="6344089" y="3215019"/>
          <a:ext cx="1885510" cy="10558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400" kern="1200" dirty="0" smtClean="0">
              <a:solidFill>
                <a:srgbClr val="00A6D4"/>
              </a:solidFill>
            </a:rPr>
            <a:t>Medicines review</a:t>
          </a:r>
          <a:endParaRPr lang="en-GB" sz="2400" kern="1200" dirty="0">
            <a:solidFill>
              <a:srgbClr val="00A6D4"/>
            </a:solidFill>
          </a:endParaRPr>
        </a:p>
      </dsp:txBody>
      <dsp:txXfrm>
        <a:off x="6344089" y="3215019"/>
        <a:ext cx="1885510" cy="1055805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69CC8C-92E9-5149-96DF-DFD3744A3443}">
      <dsp:nvSpPr>
        <dsp:cNvPr id="0" name=""/>
        <dsp:cNvSpPr/>
      </dsp:nvSpPr>
      <dsp:spPr>
        <a:xfrm rot="5400000">
          <a:off x="504136" y="1249602"/>
          <a:ext cx="1108595" cy="1262097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7030A0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9AC562C3-E8A2-8B42-A9D7-3BB9DBFEBBDF}">
      <dsp:nvSpPr>
        <dsp:cNvPr id="0" name=""/>
        <dsp:cNvSpPr/>
      </dsp:nvSpPr>
      <dsp:spPr>
        <a:xfrm>
          <a:off x="210426" y="20701"/>
          <a:ext cx="1866222" cy="1306295"/>
        </a:xfrm>
        <a:prstGeom prst="roundRect">
          <a:avLst>
            <a:gd name="adj" fmla="val 166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7030A0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800" kern="1200" dirty="0" smtClean="0"/>
            <a:t>Admission</a:t>
          </a:r>
          <a:endParaRPr lang="en-GB" sz="2800" kern="1200" dirty="0"/>
        </a:p>
      </dsp:txBody>
      <dsp:txXfrm>
        <a:off x="274206" y="84481"/>
        <a:ext cx="1738662" cy="1178735"/>
      </dsp:txXfrm>
    </dsp:sp>
    <dsp:sp modelId="{9C936F26-E59C-4B48-B7B6-2FDF242AF599}">
      <dsp:nvSpPr>
        <dsp:cNvPr id="0" name=""/>
        <dsp:cNvSpPr/>
      </dsp:nvSpPr>
      <dsp:spPr>
        <a:xfrm>
          <a:off x="2066346" y="157227"/>
          <a:ext cx="3912561" cy="10558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400" kern="1200" dirty="0" smtClean="0">
              <a:solidFill>
                <a:srgbClr val="00A6D4"/>
              </a:solidFill>
            </a:rPr>
            <a:t>Medicines reconciliation</a:t>
          </a:r>
          <a:endParaRPr lang="en-GB" sz="2400" kern="1200" dirty="0">
            <a:solidFill>
              <a:srgbClr val="00A6D4"/>
            </a:solidFill>
          </a:endParaRPr>
        </a:p>
      </dsp:txBody>
      <dsp:txXfrm>
        <a:off x="2066346" y="157227"/>
        <a:ext cx="3912561" cy="1055805"/>
      </dsp:txXfrm>
    </dsp:sp>
    <dsp:sp modelId="{E51ECFA0-AD87-9B40-91CF-A964B9AE887D}">
      <dsp:nvSpPr>
        <dsp:cNvPr id="0" name=""/>
        <dsp:cNvSpPr/>
      </dsp:nvSpPr>
      <dsp:spPr>
        <a:xfrm rot="5400000">
          <a:off x="2664693" y="2808066"/>
          <a:ext cx="1108595" cy="1262097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7030A0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596743A4-C2A0-314B-9AE5-AF1FE3BB310E}">
      <dsp:nvSpPr>
        <dsp:cNvPr id="0" name=""/>
        <dsp:cNvSpPr/>
      </dsp:nvSpPr>
      <dsp:spPr>
        <a:xfrm>
          <a:off x="2370982" y="1579165"/>
          <a:ext cx="1866222" cy="1306295"/>
        </a:xfrm>
        <a:prstGeom prst="roundRect">
          <a:avLst>
            <a:gd name="adj" fmla="val 166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7030A0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800" kern="1200" dirty="0" smtClean="0"/>
            <a:t>Stay </a:t>
          </a:r>
          <a:endParaRPr lang="en-GB" sz="2800" kern="1200" dirty="0"/>
        </a:p>
      </dsp:txBody>
      <dsp:txXfrm>
        <a:off x="2434762" y="1642945"/>
        <a:ext cx="1738662" cy="1178735"/>
      </dsp:txXfrm>
    </dsp:sp>
    <dsp:sp modelId="{B80B5AC4-7DDE-7C49-9B18-89FB90561642}">
      <dsp:nvSpPr>
        <dsp:cNvPr id="0" name=""/>
        <dsp:cNvSpPr/>
      </dsp:nvSpPr>
      <dsp:spPr>
        <a:xfrm>
          <a:off x="4422132" y="1532382"/>
          <a:ext cx="3800787" cy="14871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400" kern="1200" dirty="0" smtClean="0">
              <a:solidFill>
                <a:srgbClr val="00A6D4"/>
              </a:solidFill>
            </a:rPr>
            <a:t>Medicines optimisation</a:t>
          </a:r>
          <a:endParaRPr lang="en-GB" sz="2400" kern="1200" dirty="0">
            <a:solidFill>
              <a:srgbClr val="00A6D4"/>
            </a:solidFill>
          </a:endParaRP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400" kern="1200" dirty="0" smtClean="0">
              <a:solidFill>
                <a:srgbClr val="00A6D4"/>
              </a:solidFill>
            </a:rPr>
            <a:t>Prescribing </a:t>
          </a:r>
          <a:endParaRPr lang="en-GB" sz="2400" kern="1200" dirty="0">
            <a:solidFill>
              <a:srgbClr val="00A6D4"/>
            </a:solidFill>
          </a:endParaRP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400" kern="1200" dirty="0" smtClean="0">
              <a:solidFill>
                <a:srgbClr val="00A6D4"/>
              </a:solidFill>
            </a:rPr>
            <a:t>Safety</a:t>
          </a:r>
          <a:endParaRPr lang="en-GB" sz="2400" kern="1200" dirty="0"/>
        </a:p>
      </dsp:txBody>
      <dsp:txXfrm>
        <a:off x="4422132" y="1532382"/>
        <a:ext cx="3800787" cy="1487101"/>
      </dsp:txXfrm>
    </dsp:sp>
    <dsp:sp modelId="{4420A943-739B-3446-83CF-4CC9150554EF}">
      <dsp:nvSpPr>
        <dsp:cNvPr id="0" name=""/>
        <dsp:cNvSpPr/>
      </dsp:nvSpPr>
      <dsp:spPr>
        <a:xfrm>
          <a:off x="4531539" y="3046566"/>
          <a:ext cx="1866222" cy="1306295"/>
        </a:xfrm>
        <a:prstGeom prst="roundRect">
          <a:avLst>
            <a:gd name="adj" fmla="val 166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7030A0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800" kern="1200" dirty="0" smtClean="0"/>
            <a:t>Discharge </a:t>
          </a:r>
          <a:endParaRPr lang="en-GB" sz="2800" kern="1200" dirty="0"/>
        </a:p>
      </dsp:txBody>
      <dsp:txXfrm>
        <a:off x="4595319" y="3110346"/>
        <a:ext cx="1738662" cy="1178735"/>
      </dsp:txXfrm>
    </dsp:sp>
    <dsp:sp modelId="{3BD71708-21AD-D649-83DC-5893F5198296}">
      <dsp:nvSpPr>
        <dsp:cNvPr id="0" name=""/>
        <dsp:cNvSpPr/>
      </dsp:nvSpPr>
      <dsp:spPr>
        <a:xfrm>
          <a:off x="6344089" y="3215019"/>
          <a:ext cx="1885510" cy="10558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400" kern="1200" dirty="0" smtClean="0"/>
            <a:t>Medicines review</a:t>
          </a:r>
          <a:endParaRPr lang="en-GB" sz="2400" kern="1200" dirty="0"/>
        </a:p>
      </dsp:txBody>
      <dsp:txXfrm>
        <a:off x="6344089" y="3215019"/>
        <a:ext cx="1885510" cy="1055805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69CC8C-92E9-5149-96DF-DFD3744A3443}">
      <dsp:nvSpPr>
        <dsp:cNvPr id="0" name=""/>
        <dsp:cNvSpPr/>
      </dsp:nvSpPr>
      <dsp:spPr>
        <a:xfrm rot="5400000">
          <a:off x="504136" y="1249602"/>
          <a:ext cx="1108595" cy="1262097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7030A0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9AC562C3-E8A2-8B42-A9D7-3BB9DBFEBBDF}">
      <dsp:nvSpPr>
        <dsp:cNvPr id="0" name=""/>
        <dsp:cNvSpPr/>
      </dsp:nvSpPr>
      <dsp:spPr>
        <a:xfrm>
          <a:off x="210426" y="20701"/>
          <a:ext cx="1866222" cy="1306295"/>
        </a:xfrm>
        <a:prstGeom prst="roundRect">
          <a:avLst>
            <a:gd name="adj" fmla="val 166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7030A0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800" kern="1200" dirty="0" smtClean="0"/>
            <a:t>Admission</a:t>
          </a:r>
          <a:endParaRPr lang="en-GB" sz="2800" kern="1200" dirty="0"/>
        </a:p>
      </dsp:txBody>
      <dsp:txXfrm>
        <a:off x="274206" y="84481"/>
        <a:ext cx="1738662" cy="1178735"/>
      </dsp:txXfrm>
    </dsp:sp>
    <dsp:sp modelId="{9C936F26-E59C-4B48-B7B6-2FDF242AF599}">
      <dsp:nvSpPr>
        <dsp:cNvPr id="0" name=""/>
        <dsp:cNvSpPr/>
      </dsp:nvSpPr>
      <dsp:spPr>
        <a:xfrm>
          <a:off x="2066346" y="157227"/>
          <a:ext cx="3912561" cy="10558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400" kern="1200" dirty="0" smtClean="0"/>
            <a:t>Medicines reconciliation</a:t>
          </a:r>
          <a:endParaRPr lang="en-GB" sz="2400" kern="1200" dirty="0"/>
        </a:p>
      </dsp:txBody>
      <dsp:txXfrm>
        <a:off x="2066346" y="157227"/>
        <a:ext cx="3912561" cy="1055805"/>
      </dsp:txXfrm>
    </dsp:sp>
    <dsp:sp modelId="{E51ECFA0-AD87-9B40-91CF-A964B9AE887D}">
      <dsp:nvSpPr>
        <dsp:cNvPr id="0" name=""/>
        <dsp:cNvSpPr/>
      </dsp:nvSpPr>
      <dsp:spPr>
        <a:xfrm rot="5400000">
          <a:off x="2664693" y="2808066"/>
          <a:ext cx="1108595" cy="1262097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7030A0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596743A4-C2A0-314B-9AE5-AF1FE3BB310E}">
      <dsp:nvSpPr>
        <dsp:cNvPr id="0" name=""/>
        <dsp:cNvSpPr/>
      </dsp:nvSpPr>
      <dsp:spPr>
        <a:xfrm>
          <a:off x="2370982" y="1579165"/>
          <a:ext cx="1866222" cy="1306295"/>
        </a:xfrm>
        <a:prstGeom prst="roundRect">
          <a:avLst>
            <a:gd name="adj" fmla="val 166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7030A0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800" kern="1200" dirty="0" smtClean="0"/>
            <a:t>Stay </a:t>
          </a:r>
          <a:endParaRPr lang="en-GB" sz="2800" kern="1200" dirty="0"/>
        </a:p>
      </dsp:txBody>
      <dsp:txXfrm>
        <a:off x="2434762" y="1642945"/>
        <a:ext cx="1738662" cy="1178735"/>
      </dsp:txXfrm>
    </dsp:sp>
    <dsp:sp modelId="{B80B5AC4-7DDE-7C49-9B18-89FB90561642}">
      <dsp:nvSpPr>
        <dsp:cNvPr id="0" name=""/>
        <dsp:cNvSpPr/>
      </dsp:nvSpPr>
      <dsp:spPr>
        <a:xfrm>
          <a:off x="4409971" y="1532382"/>
          <a:ext cx="3800787" cy="14871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400" kern="1200" dirty="0" smtClean="0"/>
            <a:t>Medicines optimisation</a:t>
          </a:r>
          <a:endParaRPr lang="en-GB" sz="2400" kern="1200" dirty="0"/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400" kern="1200" dirty="0" smtClean="0"/>
            <a:t>Prescribing </a:t>
          </a:r>
          <a:endParaRPr lang="en-GB" sz="2400" kern="1200" dirty="0"/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400" kern="1200" dirty="0" smtClean="0"/>
            <a:t>Safety</a:t>
          </a:r>
          <a:endParaRPr lang="en-GB" sz="2400" kern="1200" dirty="0"/>
        </a:p>
      </dsp:txBody>
      <dsp:txXfrm>
        <a:off x="4409971" y="1532382"/>
        <a:ext cx="3800787" cy="1487101"/>
      </dsp:txXfrm>
    </dsp:sp>
    <dsp:sp modelId="{4420A943-739B-3446-83CF-4CC9150554EF}">
      <dsp:nvSpPr>
        <dsp:cNvPr id="0" name=""/>
        <dsp:cNvSpPr/>
      </dsp:nvSpPr>
      <dsp:spPr>
        <a:xfrm>
          <a:off x="4531539" y="3046566"/>
          <a:ext cx="1866222" cy="1306295"/>
        </a:xfrm>
        <a:prstGeom prst="roundRect">
          <a:avLst>
            <a:gd name="adj" fmla="val 166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7030A0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800" kern="1200" dirty="0" smtClean="0"/>
            <a:t>Discharge </a:t>
          </a:r>
          <a:endParaRPr lang="en-GB" sz="2800" kern="1200" dirty="0"/>
        </a:p>
      </dsp:txBody>
      <dsp:txXfrm>
        <a:off x="4595319" y="3110346"/>
        <a:ext cx="1738662" cy="1178735"/>
      </dsp:txXfrm>
    </dsp:sp>
    <dsp:sp modelId="{3BD71708-21AD-D649-83DC-5893F5198296}">
      <dsp:nvSpPr>
        <dsp:cNvPr id="0" name=""/>
        <dsp:cNvSpPr/>
      </dsp:nvSpPr>
      <dsp:spPr>
        <a:xfrm>
          <a:off x="6344089" y="3215019"/>
          <a:ext cx="1885510" cy="10558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400" kern="1200" dirty="0" smtClean="0"/>
            <a:t>Medicines review</a:t>
          </a:r>
          <a:endParaRPr lang="en-GB" sz="2400" kern="1200" dirty="0"/>
        </a:p>
      </dsp:txBody>
      <dsp:txXfrm>
        <a:off x="6344089" y="3215019"/>
        <a:ext cx="1885510" cy="105580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1EED35-EB43-41B2-A591-362986B4D2F7}" type="datetimeFigureOut">
              <a:rPr lang="en-GB" smtClean="0"/>
              <a:t>04/07/2017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613" y="4860925"/>
            <a:ext cx="5680075" cy="4605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AE5576-DE97-4FB5-9B61-9ACFA502639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97802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Intolerant of ng feeding for &gt;7 day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AE5576-DE97-4FB5-9B61-9ACFA502639A}" type="slidenum">
              <a:rPr lang="en-GB" smtClean="0"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21907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4" Type="http://schemas.openxmlformats.org/officeDocument/2006/relationships/image" Target="../media/image3.png"/><Relationship Id="rId1" Type="http://schemas.openxmlformats.org/officeDocument/2006/relationships/vmlDrawing" Target="../drawings/vmlDrawing1.vml"/><Relationship Id="rId2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4" Type="http://schemas.openxmlformats.org/officeDocument/2006/relationships/image" Target="../media/image3.png"/><Relationship Id="rId1" Type="http://schemas.openxmlformats.org/officeDocument/2006/relationships/vmlDrawing" Target="../drawings/vmlDrawing2.vml"/><Relationship Id="rId2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36DBDD-B884-44F2-A753-10976628A49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7" name="Rectangle 2"/>
          <p:cNvSpPr>
            <a:spLocks noChangeArrowheads="1"/>
          </p:cNvSpPr>
          <p:nvPr userDrawn="1"/>
        </p:nvSpPr>
        <p:spPr bwMode="auto">
          <a:xfrm>
            <a:off x="1" y="-1"/>
            <a:ext cx="5941928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 dirty="0"/>
          </a:p>
        </p:txBody>
      </p:sp>
      <p:graphicFrame>
        <p:nvGraphicFramePr>
          <p:cNvPr id="8" name="Object 7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1241686233"/>
              </p:ext>
            </p:extLst>
          </p:nvPr>
        </p:nvGraphicFramePr>
        <p:xfrm>
          <a:off x="0" y="1"/>
          <a:ext cx="4716016" cy="5634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4" r:id="rId3" imgW="6571429" imgH="771429" progId="MSPhotoEd.3">
                  <p:embed/>
                </p:oleObj>
              </mc:Choice>
              <mc:Fallback>
                <p:oleObj r:id="rId3" imgW="6571429" imgH="771429" progId="MSPhotoEd.3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4716016" cy="563418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527504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88A052-243B-4B48-BE3E-A611E8FAB649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16689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533400"/>
            <a:ext cx="2057400" cy="55927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533400"/>
            <a:ext cx="6019800" cy="55927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51B188-736A-4E7C-BDB6-8404BE0216C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7427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9604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7200" y="1752600"/>
            <a:ext cx="8229600" cy="4373563"/>
          </a:xfrm>
        </p:spPr>
        <p:txBody>
          <a:bodyPr/>
          <a:lstStyle/>
          <a:p>
            <a:pPr lvl="0"/>
            <a:r>
              <a:rPr lang="en-US" noProof="0" dirty="0" smtClean="0"/>
              <a:t>Click icon to add chart</a:t>
            </a:r>
            <a:endParaRPr lang="en-GB" noProof="0" dirty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6645AD-D7B2-43E1-AE7C-86F49DDF08A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60430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DD7A66-81B5-416E-8A43-150777DDE535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7" name="Rectangle 2"/>
          <p:cNvSpPr>
            <a:spLocks noChangeArrowheads="1"/>
          </p:cNvSpPr>
          <p:nvPr userDrawn="1"/>
        </p:nvSpPr>
        <p:spPr bwMode="auto">
          <a:xfrm>
            <a:off x="0" y="-1"/>
            <a:ext cx="7741644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 dirty="0"/>
          </a:p>
        </p:txBody>
      </p:sp>
      <p:graphicFrame>
        <p:nvGraphicFramePr>
          <p:cNvPr id="8" name="Object 7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324489287"/>
              </p:ext>
            </p:extLst>
          </p:nvPr>
        </p:nvGraphicFramePr>
        <p:xfrm>
          <a:off x="0" y="0"/>
          <a:ext cx="4860032" cy="5806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8" r:id="rId3" imgW="6571429" imgH="771429" progId="MSPhotoEd.3">
                  <p:embed/>
                </p:oleObj>
              </mc:Choice>
              <mc:Fallback>
                <p:oleObj r:id="rId3" imgW="6571429" imgH="771429" progId="MSPhotoEd.3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4860032" cy="580623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220638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FE5161F-1DB2-474A-9E5A-31185CBDC960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61379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752600"/>
            <a:ext cx="4038600" cy="4373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752600"/>
            <a:ext cx="4038600" cy="4373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0E85AE-CB05-474E-8A15-1577C1AAC011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07797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BC849E-4F85-4D2F-A5B0-6F54E5F7A74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2460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5D520B-224B-414F-BF39-0D068605250F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26502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FA4AF7-F720-424A-B3A0-EC383107DA1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34419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BADEA0-5C01-4805-84B3-03010919EBB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92966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7D81E7-3385-4F9B-B8F7-4E8BA659EA6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79950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tags" Target="../tags/tag1.xml"/><Relationship Id="rId15" Type="http://schemas.openxmlformats.org/officeDocument/2006/relationships/image" Target="../media/image1.png"/><Relationship Id="rId16" Type="http://schemas.openxmlformats.org/officeDocument/2006/relationships/image" Target="../media/image2.w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533400"/>
            <a:ext cx="8229600" cy="9604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752600"/>
            <a:ext cx="8229600" cy="4373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  <a:endParaRPr lang="en-GB" altLang="en-US" smtClean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>
              <a:defRPr/>
            </a:pPr>
            <a:fld id="{5E498C2F-9C35-41F4-923A-446053388F2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pic>
        <p:nvPicPr>
          <p:cNvPr id="1031" name="Picture 7" descr="S&amp;WB Hosp (colour)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3800" y="0"/>
            <a:ext cx="4140200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2" name="Picture 7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24625"/>
            <a:ext cx="9144000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  <p:sldLayoutId id="2147483655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  <p:sldLayoutId id="2147483663" r:id="rId12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>
          <a:solidFill>
            <a:srgbClr val="000066"/>
          </a:solidFill>
          <a:effectLst>
            <a:outerShdw blurRad="38100" dist="38100" dir="2700000" algn="tl">
              <a:srgbClr val="C0C0C0"/>
            </a:outerShdw>
          </a:effectLst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rgbClr val="000066"/>
          </a:solidFill>
          <a:effectLst>
            <a:outerShdw blurRad="38100" dist="38100" dir="2700000" algn="tl">
              <a:srgbClr val="C0C0C0"/>
            </a:outerShdw>
          </a:effectLst>
          <a:latin typeface="Calibri" pitchFamily="34" charset="0"/>
          <a:ea typeface="MS PGothic" pitchFamily="34" charset="-128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rgbClr val="000066"/>
          </a:solidFill>
          <a:effectLst>
            <a:outerShdw blurRad="38100" dist="38100" dir="2700000" algn="tl">
              <a:srgbClr val="C0C0C0"/>
            </a:outerShdw>
          </a:effectLst>
          <a:latin typeface="Calibri" pitchFamily="34" charset="0"/>
          <a:ea typeface="MS PGothic" pitchFamily="34" charset="-128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rgbClr val="000066"/>
          </a:solidFill>
          <a:effectLst>
            <a:outerShdw blurRad="38100" dist="38100" dir="2700000" algn="tl">
              <a:srgbClr val="C0C0C0"/>
            </a:outerShdw>
          </a:effectLst>
          <a:latin typeface="Calibri" pitchFamily="34" charset="0"/>
          <a:ea typeface="MS PGothic" pitchFamily="34" charset="-128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rgbClr val="000066"/>
          </a:solidFill>
          <a:effectLst>
            <a:outerShdw blurRad="38100" dist="38100" dir="2700000" algn="tl">
              <a:srgbClr val="C0C0C0"/>
            </a:outerShdw>
          </a:effectLst>
          <a:latin typeface="Calibri" pitchFamily="34" charset="0"/>
          <a:ea typeface="MS PGothic" pitchFamily="34" charset="-128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rgbClr val="000066"/>
          </a:solidFill>
          <a:effectLst>
            <a:outerShdw blurRad="38100" dist="38100" dir="2700000" algn="tl">
              <a:srgbClr val="C0C0C0"/>
            </a:outerShdw>
          </a:effectLst>
          <a:latin typeface="Calibri" pitchFamily="34" charset="0"/>
          <a:ea typeface="MS PGothic" pitchFamily="34" charset="-128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rgbClr val="000066"/>
          </a:solidFill>
          <a:effectLst>
            <a:outerShdw blurRad="38100" dist="38100" dir="2700000" algn="tl">
              <a:srgbClr val="C0C0C0"/>
            </a:outerShdw>
          </a:effectLst>
          <a:latin typeface="Calibri" pitchFamily="34" charset="0"/>
          <a:ea typeface="MS PGothic" pitchFamily="34" charset="-128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rgbClr val="000066"/>
          </a:solidFill>
          <a:effectLst>
            <a:outerShdw blurRad="38100" dist="38100" dir="2700000" algn="tl">
              <a:srgbClr val="C0C0C0"/>
            </a:outerShdw>
          </a:effectLst>
          <a:latin typeface="Calibri" pitchFamily="34" charset="0"/>
          <a:ea typeface="MS PGothic" pitchFamily="34" charset="-128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rgbClr val="000066"/>
          </a:solidFill>
          <a:effectLst>
            <a:outerShdw blurRad="38100" dist="38100" dir="2700000" algn="tl">
              <a:srgbClr val="C0C0C0"/>
            </a:outerShdw>
          </a:effectLst>
          <a:latin typeface="Calibri" pitchFamily="34" charset="0"/>
          <a:ea typeface="MS PGothic" pitchFamily="34" charset="-128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rgbClr val="000066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rgbClr val="000066"/>
          </a:solidFill>
          <a:latin typeface="+mn-lt"/>
          <a:ea typeface="+mn-ea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rgbClr val="000066"/>
          </a:solidFill>
          <a:latin typeface="+mn-lt"/>
          <a:ea typeface="+mn-ea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rgbClr val="000066"/>
          </a:solidFill>
          <a:latin typeface="+mn-lt"/>
          <a:ea typeface="+mn-ea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ea typeface="+mn-ea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4" Type="http://schemas.openxmlformats.org/officeDocument/2006/relationships/diagramQuickStyle" Target="../diagrams/quickStyle3.xml"/><Relationship Id="rId5" Type="http://schemas.openxmlformats.org/officeDocument/2006/relationships/diagramColors" Target="../diagrams/colors3.xml"/><Relationship Id="rId6" Type="http://schemas.microsoft.com/office/2007/relationships/diagramDrawing" Target="../diagrams/drawing3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4" Type="http://schemas.openxmlformats.org/officeDocument/2006/relationships/diagramQuickStyle" Target="../diagrams/quickStyle4.xml"/><Relationship Id="rId5" Type="http://schemas.openxmlformats.org/officeDocument/2006/relationships/diagramColors" Target="../diagrams/colors4.xml"/><Relationship Id="rId6" Type="http://schemas.microsoft.com/office/2007/relationships/diagramDrawing" Target="../diagrams/drawing4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4" Type="http://schemas.openxmlformats.org/officeDocument/2006/relationships/diagramQuickStyle" Target="../diagrams/quickStyle5.xml"/><Relationship Id="rId5" Type="http://schemas.openxmlformats.org/officeDocument/2006/relationships/diagramColors" Target="../diagrams/colors5.xml"/><Relationship Id="rId6" Type="http://schemas.microsoft.com/office/2007/relationships/diagramDrawing" Target="../diagrams/drawing5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4" Type="http://schemas.openxmlformats.org/officeDocument/2006/relationships/diagramQuickStyle" Target="../diagrams/quickStyle6.xml"/><Relationship Id="rId5" Type="http://schemas.openxmlformats.org/officeDocument/2006/relationships/diagramColors" Target="../diagrams/colors6.xml"/><Relationship Id="rId6" Type="http://schemas.microsoft.com/office/2007/relationships/diagramDrawing" Target="../diagrams/drawing6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4" Type="http://schemas.openxmlformats.org/officeDocument/2006/relationships/diagramQuickStyle" Target="../diagrams/quickStyle7.xml"/><Relationship Id="rId5" Type="http://schemas.openxmlformats.org/officeDocument/2006/relationships/diagramColors" Target="../diagrams/colors7.xml"/><Relationship Id="rId6" Type="http://schemas.microsoft.com/office/2007/relationships/diagramDrawing" Target="../diagrams/drawing7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.tiff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.tiff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www.gov.uk/government/publications/productivity-in-nhs-hospitals" TargetMode="Externa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www.england.nhs.uk/ourwork/pe/mo-dash/" TargetMode="Externa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4" Type="http://schemas.openxmlformats.org/officeDocument/2006/relationships/diagramQuickStyle" Target="../diagrams/quickStyle2.xml"/><Relationship Id="rId5" Type="http://schemas.openxmlformats.org/officeDocument/2006/relationships/diagramColors" Target="../diagrams/colors2.xml"/><Relationship Id="rId6" Type="http://schemas.microsoft.com/office/2007/relationships/diagramDrawing" Target="../diagrams/drawing2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Getting it right first time</a:t>
            </a:r>
            <a:br>
              <a:rPr lang="en-GB" dirty="0" smtClean="0"/>
            </a:br>
            <a:r>
              <a:rPr lang="en-GB" dirty="0" smtClean="0"/>
              <a:t>How does pharmacy help?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altLang="en-US" dirty="0"/>
              <a:t>Emma Graham-Clarke</a:t>
            </a:r>
          </a:p>
          <a:p>
            <a:r>
              <a:rPr lang="en-GB" altLang="en-US" dirty="0"/>
              <a:t>Consultant Pharmacist Critical </a:t>
            </a:r>
            <a:r>
              <a:rPr lang="en-GB" altLang="en-US" dirty="0" smtClean="0"/>
              <a:t>Care</a:t>
            </a:r>
          </a:p>
          <a:p>
            <a:r>
              <a:rPr lang="en-GB" altLang="en-US" dirty="0" smtClean="0"/>
              <a:t>AHP/HCS Lead for MCCN</a:t>
            </a:r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4140300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edicines reconciliation 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The process of identifying an accurate list of a person’s current medication, (including prescribed, over-the-counter and complementary medicines)</a:t>
            </a:r>
            <a:endParaRPr lang="en-GB" sz="2000" dirty="0"/>
          </a:p>
          <a:p>
            <a:r>
              <a:rPr lang="en-GB" dirty="0" smtClean="0"/>
              <a:t>Should occur at every transition of care</a:t>
            </a:r>
          </a:p>
          <a:p>
            <a:endParaRPr lang="en-GB" dirty="0"/>
          </a:p>
          <a:p>
            <a:pPr marL="0" indent="0" algn="r">
              <a:buNone/>
            </a:pPr>
            <a:r>
              <a:rPr lang="en-GB" sz="2000" dirty="0"/>
              <a:t>NICE NG5 </a:t>
            </a:r>
            <a:r>
              <a:rPr lang="en-GB" sz="2000" dirty="0" smtClean="0"/>
              <a:t>2015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872359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92696"/>
            <a:ext cx="8229600" cy="960438"/>
          </a:xfrm>
        </p:spPr>
        <p:txBody>
          <a:bodyPr/>
          <a:lstStyle/>
          <a:p>
            <a:r>
              <a:rPr lang="en-GB" sz="4000" dirty="0"/>
              <a:t>Review of levothyroxine prescriptions in a tertiary referral </a:t>
            </a:r>
            <a:r>
              <a:rPr lang="en-GB" sz="4000" dirty="0" smtClean="0"/>
              <a:t>unit</a:t>
            </a:r>
            <a:endParaRPr lang="en-GB" sz="4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204864"/>
            <a:ext cx="8229600" cy="3921299"/>
          </a:xfrm>
        </p:spPr>
        <p:txBody>
          <a:bodyPr/>
          <a:lstStyle/>
          <a:p>
            <a:r>
              <a:rPr lang="en-GB" dirty="0" smtClean="0"/>
              <a:t>23/133 </a:t>
            </a:r>
            <a:r>
              <a:rPr lang="en-GB" dirty="0"/>
              <a:t>patients not prescribed </a:t>
            </a:r>
            <a:r>
              <a:rPr lang="en-GB" dirty="0" smtClean="0"/>
              <a:t>it for &gt; 7 days (3/133 not prescribed it at all)</a:t>
            </a:r>
          </a:p>
          <a:p>
            <a:endParaRPr lang="en-GB" sz="2000" dirty="0" smtClean="0"/>
          </a:p>
          <a:p>
            <a:r>
              <a:rPr lang="en-GB" dirty="0"/>
              <a:t>28/133 patients </a:t>
            </a:r>
            <a:r>
              <a:rPr lang="en-GB" dirty="0" smtClean="0"/>
              <a:t>intolerant of enteral feeding</a:t>
            </a:r>
          </a:p>
          <a:p>
            <a:endParaRPr lang="en-GB" sz="2000" dirty="0"/>
          </a:p>
          <a:p>
            <a:r>
              <a:rPr lang="en-GB" dirty="0" smtClean="0"/>
              <a:t>i.e. 51/133 received sub-optimal treatment</a:t>
            </a:r>
          </a:p>
          <a:p>
            <a:pPr marL="0" indent="0" algn="r">
              <a:buNone/>
            </a:pPr>
            <a:r>
              <a:rPr lang="en-GB" sz="2000" dirty="0"/>
              <a:t>Barrett et al </a:t>
            </a:r>
            <a:r>
              <a:rPr lang="en-GB" sz="2000" dirty="0" smtClean="0"/>
              <a:t>2012 </a:t>
            </a:r>
            <a:r>
              <a:rPr lang="en-US" sz="2000" i="1" dirty="0" smtClean="0"/>
              <a:t>IJPP </a:t>
            </a:r>
            <a:r>
              <a:rPr lang="en-US" sz="2000" dirty="0" smtClean="0"/>
              <a:t>20(5)303-306.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868569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atient pathway for critical care</a:t>
            </a:r>
            <a:endParaRPr lang="en-GB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47059606"/>
              </p:ext>
            </p:extLst>
          </p:nvPr>
        </p:nvGraphicFramePr>
        <p:xfrm>
          <a:off x="457200" y="1752600"/>
          <a:ext cx="8229600" cy="43735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188959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ROTECTED-UK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21 UK units</a:t>
            </a:r>
          </a:p>
          <a:p>
            <a:r>
              <a:rPr lang="en-GB" dirty="0" smtClean="0"/>
              <a:t>2/52 audit period</a:t>
            </a:r>
          </a:p>
          <a:p>
            <a:r>
              <a:rPr lang="en-GB" dirty="0" smtClean="0"/>
              <a:t>Recorded all interventions, contributions and consultations</a:t>
            </a:r>
          </a:p>
          <a:p>
            <a:endParaRPr lang="en-GB" sz="2000" dirty="0" smtClean="0"/>
          </a:p>
          <a:p>
            <a:pPr marL="0" indent="0" algn="r">
              <a:buNone/>
            </a:pPr>
            <a:r>
              <a:rPr lang="en-US" sz="2000" dirty="0" smtClean="0"/>
              <a:t>Shulman et al (2015</a:t>
            </a:r>
            <a:r>
              <a:rPr lang="en-US" sz="2000" dirty="0"/>
              <a:t>) </a:t>
            </a:r>
            <a:r>
              <a:rPr lang="en-US" sz="2000" i="1" dirty="0" smtClean="0"/>
              <a:t>J Crit Care</a:t>
            </a:r>
            <a:r>
              <a:rPr lang="en-US" sz="2000" i="1" dirty="0"/>
              <a:t>,</a:t>
            </a:r>
            <a:r>
              <a:rPr lang="en-US" sz="2000" dirty="0"/>
              <a:t> </a:t>
            </a:r>
            <a:r>
              <a:rPr lang="en-US" sz="2000" dirty="0" smtClean="0"/>
              <a:t>30, 808-13.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941085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ROTECTED-UK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3390 records</a:t>
            </a:r>
          </a:p>
          <a:p>
            <a:endParaRPr lang="en-GB" sz="2000" dirty="0" smtClean="0"/>
          </a:p>
          <a:p>
            <a:r>
              <a:rPr lang="en-GB" dirty="0" smtClean="0"/>
              <a:t>1 intervention per 6 medications prescribed</a:t>
            </a:r>
          </a:p>
          <a:p>
            <a:endParaRPr lang="en-GB" sz="2000" dirty="0"/>
          </a:p>
          <a:p>
            <a:r>
              <a:rPr lang="en-GB" dirty="0" smtClean="0"/>
              <a:t>51.4% medicines optimisation</a:t>
            </a:r>
          </a:p>
          <a:p>
            <a:r>
              <a:rPr lang="en-GB" dirty="0" smtClean="0"/>
              <a:t>42.3% errors</a:t>
            </a:r>
          </a:p>
          <a:p>
            <a:endParaRPr lang="en-GB" sz="2000" dirty="0" smtClean="0"/>
          </a:p>
          <a:p>
            <a:r>
              <a:rPr lang="en-GB" dirty="0" smtClean="0"/>
              <a:t>64.1% of moderate or greater impac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4467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TECTED-U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Intervention rate doubled at weekends</a:t>
            </a:r>
          </a:p>
          <a:p>
            <a:endParaRPr lang="en-GB" dirty="0"/>
          </a:p>
          <a:p>
            <a:r>
              <a:rPr lang="en-GB" dirty="0" smtClean="0"/>
              <a:t>Rate decreased as case load increased</a:t>
            </a:r>
          </a:p>
          <a:p>
            <a:endParaRPr lang="en-GB" dirty="0"/>
          </a:p>
          <a:p>
            <a:pPr marL="0" indent="0" algn="r">
              <a:buNone/>
            </a:pPr>
            <a:r>
              <a:rPr lang="en-GB" sz="2000" dirty="0"/>
              <a:t>Landa et al </a:t>
            </a:r>
            <a:r>
              <a:rPr lang="en-GB" sz="2000" dirty="0" smtClean="0"/>
              <a:t>2014 </a:t>
            </a:r>
            <a:r>
              <a:rPr lang="en-US" sz="2000" i="1" dirty="0" smtClean="0"/>
              <a:t>IJPP </a:t>
            </a:r>
            <a:r>
              <a:rPr lang="en-US" sz="2000" dirty="0" smtClean="0"/>
              <a:t>22(Sup </a:t>
            </a:r>
            <a:r>
              <a:rPr lang="en-US" sz="2000" dirty="0"/>
              <a:t>2</a:t>
            </a:r>
            <a:r>
              <a:rPr lang="en-US" sz="2000" dirty="0" smtClean="0"/>
              <a:t>) 44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691252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atient pathway for critical care</a:t>
            </a:r>
            <a:endParaRPr lang="en-GB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54553170"/>
              </p:ext>
            </p:extLst>
          </p:nvPr>
        </p:nvGraphicFramePr>
        <p:xfrm>
          <a:off x="457200" y="1752600"/>
          <a:ext cx="8229600" cy="43735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508107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rescribing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512" y="1493839"/>
            <a:ext cx="8229600" cy="4311426"/>
          </a:xfrm>
        </p:spPr>
        <p:txBody>
          <a:bodyPr/>
          <a:lstStyle/>
          <a:p>
            <a:r>
              <a:rPr lang="en-GB" dirty="0" smtClean="0"/>
              <a:t>1/3 critical care pharmacists are independent prescribers</a:t>
            </a:r>
          </a:p>
          <a:p>
            <a:r>
              <a:rPr lang="en-GB" dirty="0" smtClean="0"/>
              <a:t>70% of remainder intend to become prescribers</a:t>
            </a:r>
          </a:p>
          <a:p>
            <a:endParaRPr lang="en-GB" sz="1600" dirty="0"/>
          </a:p>
          <a:p>
            <a:r>
              <a:rPr lang="en-GB" dirty="0" smtClean="0"/>
              <a:t>Mainly utilised for:</a:t>
            </a:r>
          </a:p>
          <a:p>
            <a:pPr lvl="1"/>
            <a:r>
              <a:rPr lang="en-GB" dirty="0" smtClean="0"/>
              <a:t>dose </a:t>
            </a:r>
            <a:r>
              <a:rPr lang="en-GB" dirty="0"/>
              <a:t>adjustment </a:t>
            </a:r>
            <a:r>
              <a:rPr lang="en-GB" dirty="0" smtClean="0"/>
              <a:t>in </a:t>
            </a:r>
            <a:r>
              <a:rPr lang="en-GB" dirty="0"/>
              <a:t>multi-organ </a:t>
            </a:r>
            <a:r>
              <a:rPr lang="en-GB" dirty="0" smtClean="0"/>
              <a:t>failure</a:t>
            </a:r>
          </a:p>
          <a:p>
            <a:pPr lvl="1"/>
            <a:r>
              <a:rPr lang="en-GB" dirty="0" smtClean="0"/>
              <a:t>changing route/formulation</a:t>
            </a:r>
          </a:p>
          <a:p>
            <a:pPr lvl="1"/>
            <a:r>
              <a:rPr lang="en-GB" dirty="0" smtClean="0"/>
              <a:t>correcting prescribing errors</a:t>
            </a:r>
          </a:p>
          <a:p>
            <a:pPr marL="457200" lvl="1" indent="0" algn="r">
              <a:buNone/>
            </a:pPr>
            <a:r>
              <a:rPr lang="en-GB" sz="1600" dirty="0"/>
              <a:t>Bourne et al </a:t>
            </a:r>
            <a:r>
              <a:rPr lang="en-GB" sz="1600" dirty="0" smtClean="0"/>
              <a:t>2016 </a:t>
            </a:r>
            <a:r>
              <a:rPr lang="en-US" sz="1600" i="1" dirty="0" smtClean="0"/>
              <a:t>IJPP,</a:t>
            </a:r>
            <a:r>
              <a:rPr lang="en-US" sz="1600" dirty="0" smtClean="0"/>
              <a:t> </a:t>
            </a:r>
            <a:r>
              <a:rPr lang="en-US" sz="1600" dirty="0"/>
              <a:t>24(2</a:t>
            </a:r>
            <a:r>
              <a:rPr lang="en-US" sz="1600" dirty="0" smtClean="0"/>
              <a:t>), 104-13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654286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atient pathway for critical care</a:t>
            </a:r>
            <a:endParaRPr lang="en-GB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43421613"/>
              </p:ext>
            </p:extLst>
          </p:nvPr>
        </p:nvGraphicFramePr>
        <p:xfrm>
          <a:off x="457200" y="1752600"/>
          <a:ext cx="8229600" cy="43735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503028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4000" dirty="0" smtClean="0"/>
              <a:t>Standard concentrations for infusions</a:t>
            </a:r>
            <a:endParaRPr lang="en-GB" sz="4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Initial survey published - 2007</a:t>
            </a:r>
          </a:p>
          <a:p>
            <a:r>
              <a:rPr lang="en-GB" dirty="0" smtClean="0"/>
              <a:t>39 presentations of noradrenaline</a:t>
            </a:r>
          </a:p>
          <a:p>
            <a:r>
              <a:rPr lang="en-GB" dirty="0" smtClean="0"/>
              <a:t>18 different concentrations</a:t>
            </a:r>
          </a:p>
          <a:p>
            <a:pPr marL="0" indent="0" algn="r">
              <a:buNone/>
            </a:pPr>
            <a:r>
              <a:rPr lang="en-GB" sz="2000" dirty="0" smtClean="0"/>
              <a:t>Borthwick et al 2007 JICS </a:t>
            </a:r>
            <a:r>
              <a:rPr lang="en-US" sz="2000" dirty="0"/>
              <a:t>8(1), </a:t>
            </a:r>
            <a:r>
              <a:rPr lang="en-US" sz="2000" dirty="0" smtClean="0"/>
              <a:t>92-96</a:t>
            </a:r>
            <a:endParaRPr lang="en-GB" sz="2000" dirty="0"/>
          </a:p>
          <a:p>
            <a:endParaRPr lang="en-GB" dirty="0" smtClean="0"/>
          </a:p>
          <a:p>
            <a:r>
              <a:rPr lang="en-GB" dirty="0" smtClean="0"/>
              <a:t>Recommended standard concentrations published by ICS in 2010</a:t>
            </a:r>
          </a:p>
        </p:txBody>
      </p:sp>
    </p:spTree>
    <p:extLst>
      <p:ext uri="{BB962C8B-B14F-4D97-AF65-F5344CB8AC3E}">
        <p14:creationId xmlns:p14="http://schemas.microsoft.com/office/powerpoint/2010/main" val="1596952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ffiliations/declaration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 smtClean="0"/>
              <a:t>UK Clinical Pharmacy Association – critical care expert group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 smtClean="0"/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 smtClean="0"/>
              <a:t>Intensive Care Society – N&amp;AHP committee member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 smtClean="0"/>
              <a:t>Royal Pharmaceutical Society – Faculty Fellow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 smtClean="0"/>
              <a:t>No financial declaration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1920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tandard concentration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Repeat survey published - 2017</a:t>
            </a:r>
          </a:p>
          <a:p>
            <a:r>
              <a:rPr lang="en-GB" dirty="0" smtClean="0"/>
              <a:t>89.5% of units have adopted recommended concentrations </a:t>
            </a:r>
          </a:p>
          <a:p>
            <a:pPr marL="0" indent="0" algn="r">
              <a:buNone/>
            </a:pPr>
            <a:r>
              <a:rPr lang="en-GB" sz="2000" dirty="0" smtClean="0"/>
              <a:t>Titiesari et al 2017</a:t>
            </a:r>
            <a:r>
              <a:rPr lang="en-US" sz="2000" dirty="0"/>
              <a:t> 18(1), </a:t>
            </a:r>
            <a:r>
              <a:rPr lang="en-US" sz="2000" dirty="0" smtClean="0"/>
              <a:t>30-35</a:t>
            </a:r>
            <a:r>
              <a:rPr lang="en-US" dirty="0" smtClean="0"/>
              <a:t>.</a:t>
            </a:r>
            <a:endParaRPr lang="en-GB" dirty="0" smtClean="0"/>
          </a:p>
          <a:p>
            <a:pPr marL="0" indent="0" algn="r">
              <a:buNone/>
            </a:pPr>
            <a:endParaRPr lang="en-GB" dirty="0"/>
          </a:p>
          <a:p>
            <a:r>
              <a:rPr lang="en-GB" dirty="0" smtClean="0"/>
              <a:t>New list of standard concentrations published by FICM/ICS</a:t>
            </a:r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8777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ndard concentra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Reduced variation in practice</a:t>
            </a:r>
          </a:p>
          <a:p>
            <a:endParaRPr lang="en-GB" dirty="0"/>
          </a:p>
          <a:p>
            <a:r>
              <a:rPr lang="en-GB" dirty="0" smtClean="0"/>
              <a:t>Encourages drug companies to produce ready-made product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53918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lectronic prescribing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With or without decision support</a:t>
            </a:r>
          </a:p>
          <a:p>
            <a:endParaRPr lang="en-GB" sz="2000" dirty="0"/>
          </a:p>
          <a:p>
            <a:r>
              <a:rPr lang="en-GB" dirty="0" smtClean="0"/>
              <a:t>Reduces errors associated with hand written prescriptions</a:t>
            </a:r>
          </a:p>
          <a:p>
            <a:endParaRPr lang="en-GB" sz="2000" dirty="0"/>
          </a:p>
          <a:p>
            <a:r>
              <a:rPr lang="en-GB" dirty="0" smtClean="0"/>
              <a:t>Caution – can introduce new errors</a:t>
            </a:r>
          </a:p>
          <a:p>
            <a:pPr marL="0" indent="0" algn="r">
              <a:buNone/>
            </a:pPr>
            <a:r>
              <a:rPr lang="en-GB" sz="2000" dirty="0" smtClean="0"/>
              <a:t>Shulman et al 2005 </a:t>
            </a:r>
            <a:r>
              <a:rPr lang="en-GB" sz="2000" i="1" dirty="0" smtClean="0"/>
              <a:t>Crit </a:t>
            </a:r>
            <a:r>
              <a:rPr lang="en-GB" sz="2000" i="1" dirty="0"/>
              <a:t>Care,</a:t>
            </a:r>
            <a:r>
              <a:rPr lang="en-GB" sz="2000" dirty="0"/>
              <a:t> 9(5</a:t>
            </a:r>
            <a:r>
              <a:rPr lang="en-GB" sz="2000" dirty="0" smtClean="0"/>
              <a:t>), </a:t>
            </a:r>
            <a:r>
              <a:rPr lang="en-GB" sz="2000" dirty="0"/>
              <a:t>R516-R521.</a:t>
            </a:r>
            <a:r>
              <a:rPr lang="en-US" sz="2000" dirty="0"/>
              <a:t> </a:t>
            </a:r>
            <a:endParaRPr lang="en-GB" sz="2000" dirty="0"/>
          </a:p>
          <a:p>
            <a:r>
              <a:rPr lang="en-GB" dirty="0" smtClean="0"/>
              <a:t>Requires on-going maintenanc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5033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atient pathway for critical care</a:t>
            </a:r>
            <a:endParaRPr lang="en-GB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88505323"/>
              </p:ext>
            </p:extLst>
          </p:nvPr>
        </p:nvGraphicFramePr>
        <p:xfrm>
          <a:off x="457200" y="1752600"/>
          <a:ext cx="8229600" cy="43735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550179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ed Wreck - My own unit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fontAlgn="b"/>
            <a:r>
              <a:rPr lang="en-US" dirty="0" smtClean="0"/>
              <a:t>62 patients </a:t>
            </a:r>
            <a:r>
              <a:rPr lang="en-US" dirty="0"/>
              <a:t>audited</a:t>
            </a:r>
          </a:p>
          <a:p>
            <a:pPr fontAlgn="b"/>
            <a:r>
              <a:rPr lang="en-US" dirty="0" smtClean="0"/>
              <a:t>1345 medicines prescribed</a:t>
            </a:r>
          </a:p>
          <a:p>
            <a:pPr fontAlgn="b"/>
            <a:r>
              <a:rPr lang="en-US" dirty="0" smtClean="0"/>
              <a:t>6.5% admission discrepancies</a:t>
            </a:r>
            <a:endParaRPr lang="en-US" dirty="0"/>
          </a:p>
          <a:p>
            <a:pPr fontAlgn="b"/>
            <a:r>
              <a:rPr lang="en-US" dirty="0" smtClean="0"/>
              <a:t>66.1% discharge discrepancies</a:t>
            </a:r>
          </a:p>
          <a:p>
            <a:pPr fontAlgn="b"/>
            <a:endParaRPr lang="en-US" dirty="0"/>
          </a:p>
          <a:p>
            <a:pPr fontAlgn="b"/>
            <a:r>
              <a:rPr lang="en-US" dirty="0" smtClean="0"/>
              <a:t>Many will be deliberate omissions, but documentation variable!</a:t>
            </a:r>
          </a:p>
          <a:p>
            <a:pPr marL="0" indent="0" algn="r" fontAlgn="b">
              <a:buNone/>
            </a:pPr>
            <a:r>
              <a:rPr lang="en-US" sz="1800" dirty="0" smtClean="0"/>
              <a:t>Hebron et al 2012</a:t>
            </a:r>
            <a:r>
              <a:rPr lang="en-GB" sz="1800" i="1" dirty="0"/>
              <a:t> </a:t>
            </a:r>
            <a:r>
              <a:rPr lang="en-GB" sz="1800" i="1" dirty="0" smtClean="0"/>
              <a:t>IJPP,</a:t>
            </a:r>
            <a:r>
              <a:rPr lang="en-GB" sz="1800" dirty="0" smtClean="0"/>
              <a:t> </a:t>
            </a:r>
            <a:r>
              <a:rPr lang="en-GB" sz="1800" dirty="0"/>
              <a:t>20(Sup 2</a:t>
            </a:r>
            <a:r>
              <a:rPr lang="en-GB" sz="1800" dirty="0" smtClean="0"/>
              <a:t>); 81</a:t>
            </a:r>
            <a:r>
              <a:rPr lang="en-US" sz="1800" dirty="0" smtClean="0"/>
              <a:t>, Graham-Clarke et al 2010</a:t>
            </a:r>
            <a:r>
              <a:rPr lang="en-US" sz="1800" i="1" dirty="0"/>
              <a:t> </a:t>
            </a:r>
            <a:r>
              <a:rPr lang="en-GB" sz="1800" i="1" dirty="0"/>
              <a:t>IJPP </a:t>
            </a:r>
            <a:r>
              <a:rPr lang="en-GB" sz="1800" i="1" dirty="0" smtClean="0"/>
              <a:t>,</a:t>
            </a:r>
            <a:r>
              <a:rPr lang="en-US" sz="1800" dirty="0" smtClean="0"/>
              <a:t>18(Sup </a:t>
            </a:r>
            <a:r>
              <a:rPr lang="en-US" sz="1800" dirty="0"/>
              <a:t>2</a:t>
            </a:r>
            <a:r>
              <a:rPr lang="en-US" sz="1800" dirty="0" smtClean="0"/>
              <a:t>); 47-48</a:t>
            </a:r>
            <a:endParaRPr lang="en-US" sz="1800" dirty="0"/>
          </a:p>
          <a:p>
            <a:pPr marL="0" indent="0" algn="r" fontAlgn="b"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632198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nd longer term</a:t>
            </a:r>
            <a:r>
              <a:rPr lang="is-IS" smtClean="0"/>
              <a:t>…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21 patients reviewed at a follow-up clinic</a:t>
            </a:r>
          </a:p>
          <a:p>
            <a:r>
              <a:rPr lang="en-GB" dirty="0"/>
              <a:t>¾ had concerns about their medication</a:t>
            </a:r>
          </a:p>
          <a:p>
            <a:r>
              <a:rPr lang="en-GB" dirty="0" smtClean="0"/>
              <a:t>Cardiovascular most appropriate follow up</a:t>
            </a:r>
          </a:p>
          <a:p>
            <a:r>
              <a:rPr lang="en-GB" dirty="0" smtClean="0"/>
              <a:t>Issues seen with sedatives/PPI’s/laxatives</a:t>
            </a:r>
          </a:p>
          <a:p>
            <a:r>
              <a:rPr lang="en-GB" dirty="0" smtClean="0"/>
              <a:t>Some errors of omission identified (antidepressants/diabetic drugs)</a:t>
            </a:r>
            <a:endParaRPr lang="en-GB" sz="2000" dirty="0" smtClean="0"/>
          </a:p>
          <a:p>
            <a:r>
              <a:rPr lang="en-GB" dirty="0" smtClean="0"/>
              <a:t>Variable communication hospital /GP</a:t>
            </a:r>
          </a:p>
          <a:p>
            <a:pPr marL="0" indent="0" algn="r">
              <a:buNone/>
            </a:pPr>
            <a:r>
              <a:rPr lang="en-GB" sz="2000" dirty="0" smtClean="0"/>
              <a:t>Eijsbroek et al 2013 J Crit Care 28(1),6-50</a:t>
            </a:r>
          </a:p>
        </p:txBody>
      </p:sp>
    </p:spTree>
    <p:extLst>
      <p:ext uri="{BB962C8B-B14F-4D97-AF65-F5344CB8AC3E}">
        <p14:creationId xmlns:p14="http://schemas.microsoft.com/office/powerpoint/2010/main" val="1333072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atient pathway for critical care</a:t>
            </a:r>
            <a:endParaRPr lang="en-GB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81197091"/>
              </p:ext>
            </p:extLst>
          </p:nvPr>
        </p:nvGraphicFramePr>
        <p:xfrm>
          <a:off x="457200" y="1752600"/>
          <a:ext cx="8229600" cy="43735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944243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nything else we do to help?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Guidelines</a:t>
            </a:r>
          </a:p>
          <a:p>
            <a:endParaRPr lang="en-GB" sz="2000" dirty="0"/>
          </a:p>
          <a:p>
            <a:r>
              <a:rPr lang="en-GB" dirty="0" smtClean="0"/>
              <a:t>Education of MDT</a:t>
            </a:r>
          </a:p>
          <a:p>
            <a:endParaRPr lang="en-GB" sz="2000" dirty="0"/>
          </a:p>
          <a:p>
            <a:r>
              <a:rPr lang="en-GB" dirty="0" smtClean="0"/>
              <a:t>Financial review</a:t>
            </a:r>
          </a:p>
          <a:p>
            <a:endParaRPr lang="en-GB" sz="2000" dirty="0"/>
          </a:p>
          <a:p>
            <a:r>
              <a:rPr lang="en-GB" dirty="0" smtClean="0"/>
              <a:t>Research collaborations</a:t>
            </a:r>
          </a:p>
          <a:p>
            <a:endParaRPr lang="en-GB" sz="2000" dirty="0"/>
          </a:p>
          <a:p>
            <a:r>
              <a:rPr lang="en-GB" dirty="0" smtClean="0"/>
              <a:t>Etc.!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90589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upport 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Most critical care pharmacists work in isolation</a:t>
            </a:r>
          </a:p>
          <a:p>
            <a:endParaRPr lang="en-GB" dirty="0"/>
          </a:p>
          <a:p>
            <a:r>
              <a:rPr lang="en-GB" dirty="0" smtClean="0"/>
              <a:t>No requirement for formal training once registe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20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upport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GPICS/ICS standards ed. 1.1 2016</a:t>
            </a:r>
          </a:p>
          <a:p>
            <a:endParaRPr lang="en-GB" dirty="0" smtClean="0"/>
          </a:p>
          <a:p>
            <a:r>
              <a:rPr lang="en-GB" dirty="0" smtClean="0"/>
              <a:t>‘The most senior pharmacist</a:t>
            </a:r>
            <a:r>
              <a:rPr lang="is-IS" dirty="0" smtClean="0"/>
              <a:t>… ...who routinely works... ...with critically ill patients... ...must be competent to at least Advanced Stage II (Excellence)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507657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Outlin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Drivers</a:t>
            </a:r>
          </a:p>
          <a:p>
            <a:r>
              <a:rPr lang="en-GB" dirty="0" smtClean="0"/>
              <a:t>The patient pathway - What do we do?</a:t>
            </a:r>
          </a:p>
          <a:p>
            <a:r>
              <a:rPr lang="en-GB" dirty="0" smtClean="0"/>
              <a:t>Support</a:t>
            </a:r>
          </a:p>
          <a:p>
            <a:r>
              <a:rPr lang="en-GB" dirty="0" smtClean="0"/>
              <a:t>Gap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7060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PS Faculty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Competency framework</a:t>
            </a:r>
          </a:p>
          <a:p>
            <a:pPr lvl="1"/>
            <a:r>
              <a:rPr lang="en-GB" dirty="0" smtClean="0"/>
              <a:t>Six clusters</a:t>
            </a:r>
          </a:p>
          <a:p>
            <a:pPr lvl="1"/>
            <a:r>
              <a:rPr lang="en-GB" dirty="0" smtClean="0"/>
              <a:t>3 levels (Advanced stage I, Advanced stage II and Fellowship)</a:t>
            </a:r>
          </a:p>
          <a:p>
            <a:pPr lvl="1"/>
            <a:endParaRPr lang="en-GB" dirty="0" smtClean="0"/>
          </a:p>
          <a:p>
            <a:r>
              <a:rPr lang="en-GB" dirty="0" smtClean="0"/>
              <a:t>Critical care curriculum</a:t>
            </a:r>
          </a:p>
          <a:p>
            <a:endParaRPr lang="en-GB" dirty="0"/>
          </a:p>
          <a:p>
            <a:r>
              <a:rPr lang="en-GB" dirty="0" smtClean="0"/>
              <a:t>Independently assess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0467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ducatio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28800"/>
            <a:ext cx="8229600" cy="4497363"/>
          </a:xfrm>
        </p:spPr>
        <p:txBody>
          <a:bodyPr/>
          <a:lstStyle/>
          <a:p>
            <a:r>
              <a:rPr lang="en-GB" dirty="0" smtClean="0"/>
              <a:t>Mainly ad-hoc training</a:t>
            </a:r>
          </a:p>
          <a:p>
            <a:r>
              <a:rPr lang="en-GB" dirty="0" smtClean="0"/>
              <a:t>Limited opportunities for advanced level practitioners</a:t>
            </a:r>
          </a:p>
          <a:p>
            <a:pPr marL="0" indent="0" algn="r">
              <a:buNone/>
            </a:pPr>
            <a:r>
              <a:rPr lang="en-US" sz="2000" dirty="0" smtClean="0"/>
              <a:t>Warin et al 2016 </a:t>
            </a:r>
            <a:r>
              <a:rPr lang="en-US" sz="2000" i="1" dirty="0" smtClean="0"/>
              <a:t>Pharmacy</a:t>
            </a:r>
            <a:r>
              <a:rPr lang="en-US" sz="2000" i="1" dirty="0"/>
              <a:t>,</a:t>
            </a:r>
            <a:r>
              <a:rPr lang="en-US" sz="2000" dirty="0"/>
              <a:t> 4(1), </a:t>
            </a:r>
            <a:r>
              <a:rPr lang="en-US" sz="2000" dirty="0" smtClean="0"/>
              <a:t>6.</a:t>
            </a:r>
            <a:endParaRPr lang="en-GB" sz="2000" dirty="0" smtClean="0"/>
          </a:p>
          <a:p>
            <a:r>
              <a:rPr lang="en-GB" dirty="0" smtClean="0"/>
              <a:t>UKCPA </a:t>
            </a:r>
            <a:r>
              <a:rPr lang="en-GB" dirty="0" smtClean="0"/>
              <a:t>‘Starting out in critical care’, and ‘Advanced level</a:t>
            </a:r>
            <a:r>
              <a:rPr lang="en-GB" smtClean="0"/>
              <a:t>’ </a:t>
            </a:r>
            <a:r>
              <a:rPr lang="en-GB" smtClean="0"/>
              <a:t>masterclasses</a:t>
            </a:r>
            <a:endParaRPr lang="en-GB" sz="1000" dirty="0" smtClean="0"/>
          </a:p>
          <a:p>
            <a:r>
              <a:rPr lang="en-GB" dirty="0"/>
              <a:t>Band 7 training pack </a:t>
            </a:r>
          </a:p>
          <a:p>
            <a:pPr lvl="1"/>
            <a:r>
              <a:rPr lang="en-GB" dirty="0" err="1"/>
              <a:t>www.mcctn.org.uk</a:t>
            </a:r>
            <a:r>
              <a:rPr lang="en-GB" dirty="0"/>
              <a:t> </a:t>
            </a:r>
          </a:p>
          <a:p>
            <a:pPr marL="914400" lvl="2" indent="0" algn="r">
              <a:buNone/>
            </a:pPr>
            <a:r>
              <a:rPr lang="en-GB" sz="2000" dirty="0"/>
              <a:t>Graham-Clarke 2014 JICS 15(2),109-112</a:t>
            </a:r>
            <a:r>
              <a:rPr lang="en-US" sz="2000" dirty="0"/>
              <a:t> 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787249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Band 7 training pack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Fully revised 2017</a:t>
            </a:r>
          </a:p>
          <a:p>
            <a:endParaRPr lang="en-GB" sz="2400" dirty="0" smtClean="0"/>
          </a:p>
          <a:p>
            <a:r>
              <a:rPr lang="en-GB" dirty="0" smtClean="0"/>
              <a:t>Based on RPS critical care curriculum</a:t>
            </a:r>
          </a:p>
          <a:p>
            <a:endParaRPr lang="en-GB" sz="2400" dirty="0" smtClean="0"/>
          </a:p>
          <a:p>
            <a:r>
              <a:rPr lang="en-GB" dirty="0" smtClean="0"/>
              <a:t>Target audience – band 7 pharmacists</a:t>
            </a:r>
          </a:p>
          <a:p>
            <a:endParaRPr lang="en-GB" sz="2400" dirty="0" smtClean="0"/>
          </a:p>
          <a:p>
            <a:r>
              <a:rPr lang="en-GB" dirty="0" smtClean="0"/>
              <a:t>Aim – support training, and standardisation across network</a:t>
            </a:r>
          </a:p>
        </p:txBody>
      </p:sp>
    </p:spTree>
    <p:extLst>
      <p:ext uri="{BB962C8B-B14F-4D97-AF65-F5344CB8AC3E}">
        <p14:creationId xmlns:p14="http://schemas.microsoft.com/office/powerpoint/2010/main" val="1990525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Band 7 training pack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Contributors – network pharmacist group</a:t>
            </a:r>
          </a:p>
          <a:p>
            <a:endParaRPr lang="en-GB" dirty="0" smtClean="0"/>
          </a:p>
          <a:p>
            <a:r>
              <a:rPr lang="en-GB" dirty="0" smtClean="0"/>
              <a:t>Impact – enquiries from across the world, most recently Singapore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1352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Mcctn.org.uk</a:t>
            </a:r>
            <a:endParaRPr lang="en-GB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1011" t="-2618" r="-1011" b="19651"/>
          <a:stretch/>
        </p:blipFill>
        <p:spPr>
          <a:xfrm>
            <a:off x="457200" y="1700807"/>
            <a:ext cx="8229600" cy="4130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7910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57200" y="1876069"/>
            <a:ext cx="8229600" cy="4126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7548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Other Support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Networks</a:t>
            </a:r>
          </a:p>
          <a:p>
            <a:endParaRPr lang="en-GB" sz="2000" dirty="0"/>
          </a:p>
          <a:p>
            <a:r>
              <a:rPr lang="en-GB" dirty="0" smtClean="0"/>
              <a:t>UKCPA</a:t>
            </a:r>
          </a:p>
          <a:p>
            <a:pPr lvl="1"/>
            <a:r>
              <a:rPr lang="en-GB" dirty="0" smtClean="0"/>
              <a:t>Clinical forums</a:t>
            </a:r>
          </a:p>
          <a:p>
            <a:pPr lvl="1"/>
            <a:r>
              <a:rPr lang="en-GB" dirty="0" smtClean="0"/>
              <a:t>Minimum volumes document</a:t>
            </a:r>
          </a:p>
          <a:p>
            <a:pPr lvl="1"/>
            <a:r>
              <a:rPr lang="en-GB" dirty="0" smtClean="0"/>
              <a:t>Journal club</a:t>
            </a:r>
          </a:p>
          <a:p>
            <a:endParaRPr lang="en-GB" sz="2000" dirty="0" smtClean="0"/>
          </a:p>
          <a:p>
            <a:r>
              <a:rPr lang="en-GB" dirty="0" smtClean="0"/>
              <a:t>Peer review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1822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16 GPICS gap analysi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Do your units have sufficient pharmacy staff?</a:t>
            </a:r>
          </a:p>
          <a:p>
            <a:pPr lvl="1"/>
            <a:r>
              <a:rPr lang="en-GB" dirty="0" smtClean="0"/>
              <a:t>Majority not dedicated to Crit. Care (70%)</a:t>
            </a:r>
          </a:p>
          <a:p>
            <a:endParaRPr lang="en-GB" sz="2000" dirty="0"/>
          </a:p>
          <a:p>
            <a:r>
              <a:rPr lang="en-GB" dirty="0" smtClean="0"/>
              <a:t>Not all units have a pharmacist (21/186)</a:t>
            </a:r>
          </a:p>
          <a:p>
            <a:endParaRPr lang="en-GB" sz="2000" dirty="0" smtClean="0"/>
          </a:p>
          <a:p>
            <a:r>
              <a:rPr lang="en-GB" dirty="0" smtClean="0"/>
              <a:t>78/186 don</a:t>
            </a:r>
            <a:r>
              <a:rPr lang="uk-UA" dirty="0" smtClean="0"/>
              <a:t>’</a:t>
            </a:r>
            <a:r>
              <a:rPr lang="en-GB" dirty="0" smtClean="0"/>
              <a:t>t meet minimum experience level</a:t>
            </a:r>
          </a:p>
          <a:p>
            <a:endParaRPr lang="en-GB" sz="2000" dirty="0"/>
          </a:p>
          <a:p>
            <a:r>
              <a:rPr lang="en-GB" dirty="0" smtClean="0"/>
              <a:t>80/186 don</a:t>
            </a:r>
            <a:r>
              <a:rPr lang="uk-UA" dirty="0" smtClean="0"/>
              <a:t>’</a:t>
            </a:r>
            <a:r>
              <a:rPr lang="en-GB" dirty="0" smtClean="0"/>
              <a:t>t have access to more experienced pharmacist</a:t>
            </a:r>
          </a:p>
        </p:txBody>
      </p:sp>
    </p:spTree>
    <p:extLst>
      <p:ext uri="{BB962C8B-B14F-4D97-AF65-F5344CB8AC3E}">
        <p14:creationId xmlns:p14="http://schemas.microsoft.com/office/powerpoint/2010/main" val="547442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Overview 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The drivers</a:t>
            </a:r>
          </a:p>
          <a:p>
            <a:endParaRPr lang="en-GB" dirty="0"/>
          </a:p>
          <a:p>
            <a:r>
              <a:rPr lang="en-GB" dirty="0" smtClean="0"/>
              <a:t>Where we can help</a:t>
            </a:r>
          </a:p>
          <a:p>
            <a:endParaRPr lang="en-GB" dirty="0"/>
          </a:p>
          <a:p>
            <a:r>
              <a:rPr lang="en-GB" dirty="0" smtClean="0"/>
              <a:t>What supports your pharmacy staff and the problem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7518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ome of the current driver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 smtClean="0"/>
              <a:t>The Carter Report</a:t>
            </a:r>
          </a:p>
          <a:p>
            <a:r>
              <a:rPr lang="en-GB" dirty="0" smtClean="0"/>
              <a:t>Ensure more than 80%</a:t>
            </a:r>
            <a:r>
              <a:rPr lang="is-IS" smtClean="0"/>
              <a:t>… </a:t>
            </a:r>
            <a:r>
              <a:rPr lang="en-GB" dirty="0" smtClean="0"/>
              <a:t> </a:t>
            </a:r>
            <a:r>
              <a:rPr lang="is-IS" smtClean="0"/>
              <a:t>…</a:t>
            </a:r>
            <a:r>
              <a:rPr lang="en-GB" dirty="0" smtClean="0"/>
              <a:t>pharmacist resource</a:t>
            </a:r>
            <a:r>
              <a:rPr lang="is-IS" smtClean="0"/>
              <a:t>… ...</a:t>
            </a:r>
            <a:r>
              <a:rPr lang="en-GB" dirty="0" smtClean="0"/>
              <a:t>medicines optimisation activities</a:t>
            </a:r>
          </a:p>
          <a:p>
            <a:r>
              <a:rPr lang="en-GB" dirty="0" smtClean="0"/>
              <a:t>More pharmacist prescribers</a:t>
            </a:r>
          </a:p>
          <a:p>
            <a:r>
              <a:rPr lang="en-GB" dirty="0" smtClean="0"/>
              <a:t>Reduce ‘back office’ expenditure</a:t>
            </a:r>
            <a:endParaRPr lang="en-GB" sz="2800" dirty="0"/>
          </a:p>
          <a:p>
            <a:r>
              <a:rPr lang="en-GB" dirty="0" smtClean="0"/>
              <a:t>Review drug contracting/costing </a:t>
            </a:r>
          </a:p>
          <a:p>
            <a:r>
              <a:rPr lang="en-GB" dirty="0" smtClean="0"/>
              <a:t>Hospital pharmacy transformation plan</a:t>
            </a:r>
          </a:p>
          <a:p>
            <a:pPr marL="0" indent="0" algn="r">
              <a:buNone/>
            </a:pPr>
            <a:r>
              <a:rPr lang="en-US" sz="1600" dirty="0" smtClean="0"/>
              <a:t>Carter (2016) </a:t>
            </a:r>
            <a:r>
              <a:rPr lang="en-GB" sz="1600" u="sng" dirty="0" smtClean="0">
                <a:hlinkClick r:id="rId2"/>
              </a:rPr>
              <a:t>https</a:t>
            </a:r>
            <a:r>
              <a:rPr lang="en-GB" sz="1600" u="sng" dirty="0">
                <a:hlinkClick r:id="rId2"/>
              </a:rPr>
              <a:t>://</a:t>
            </a:r>
            <a:r>
              <a:rPr lang="en-GB" sz="1600" u="sng" dirty="0" smtClean="0">
                <a:hlinkClick r:id="rId2"/>
              </a:rPr>
              <a:t>www.gov.uk/government/publications/productivity-in-nhs-hospitals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786996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HoPMOp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Hospital pharmacy and medicine optimisation project</a:t>
            </a:r>
          </a:p>
          <a:p>
            <a:pPr marL="0" indent="0">
              <a:buNone/>
            </a:pPr>
            <a:endParaRPr lang="en-GB" dirty="0"/>
          </a:p>
          <a:p>
            <a:r>
              <a:rPr lang="en-GB" dirty="0" smtClean="0"/>
              <a:t>Model hospital dashboard</a:t>
            </a:r>
          </a:p>
          <a:p>
            <a:endParaRPr lang="en-GB" dirty="0"/>
          </a:p>
          <a:p>
            <a:r>
              <a:rPr lang="en-GB" dirty="0" smtClean="0"/>
              <a:t>‘what good looks like</a:t>
            </a:r>
            <a:r>
              <a:rPr lang="is-IS" dirty="0" smtClean="0"/>
              <a:t>…’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1496868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edicines optimisatio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‘Medicines </a:t>
            </a:r>
            <a:r>
              <a:rPr lang="en-GB" dirty="0"/>
              <a:t>optimisation is about making sure that the right patients, get the right choice of medicine, at the right time</a:t>
            </a:r>
            <a:r>
              <a:rPr lang="en-GB" dirty="0" smtClean="0"/>
              <a:t>.’</a:t>
            </a:r>
          </a:p>
          <a:p>
            <a:pPr marL="0" indent="0" algn="r">
              <a:buNone/>
            </a:pPr>
            <a:r>
              <a:rPr lang="en-GB" dirty="0" smtClean="0"/>
              <a:t>NHS England</a:t>
            </a:r>
          </a:p>
          <a:p>
            <a:pPr marL="0" indent="0" algn="r">
              <a:buNone/>
            </a:pPr>
            <a:endParaRPr lang="en-GB" dirty="0"/>
          </a:p>
          <a:p>
            <a:r>
              <a:rPr lang="en-GB" sz="2800" u="sng" dirty="0">
                <a:hlinkClick r:id="rId2"/>
              </a:rPr>
              <a:t>https://www.england.nhs.uk/ourwork/pe/mo-dash/</a:t>
            </a:r>
            <a:r>
              <a:rPr lang="en-GB" sz="2800" dirty="0"/>
              <a:t> 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757831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7 day service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is-IS" smtClean="0"/>
              <a:t>…better intergration of clinical pharmacy professionals into the multi-professional team</a:t>
            </a:r>
          </a:p>
          <a:p>
            <a:endParaRPr lang="is-IS" sz="2000"/>
          </a:p>
          <a:p>
            <a:r>
              <a:rPr lang="en-US" dirty="0" smtClean="0"/>
              <a:t>C</a:t>
            </a:r>
            <a:r>
              <a:rPr lang="is-IS" smtClean="0"/>
              <a:t>ould lead to:</a:t>
            </a:r>
          </a:p>
          <a:p>
            <a:pPr lvl="1"/>
            <a:r>
              <a:rPr lang="en-US" dirty="0" smtClean="0"/>
              <a:t>R</a:t>
            </a:r>
            <a:r>
              <a:rPr lang="is-IS" smtClean="0"/>
              <a:t>educed dose omissions</a:t>
            </a:r>
          </a:p>
          <a:p>
            <a:pPr lvl="1"/>
            <a:r>
              <a:rPr lang="en-US" dirty="0" smtClean="0"/>
              <a:t>R</a:t>
            </a:r>
            <a:r>
              <a:rPr lang="is-IS" smtClean="0"/>
              <a:t>educed prescribing and administration errors</a:t>
            </a:r>
          </a:p>
          <a:p>
            <a:pPr lvl="1"/>
            <a:r>
              <a:rPr lang="en-US" dirty="0" smtClean="0"/>
              <a:t>S</a:t>
            </a:r>
            <a:r>
              <a:rPr lang="is-IS" smtClean="0"/>
              <a:t>ystematic on-going review of high risk medications</a:t>
            </a:r>
          </a:p>
          <a:p>
            <a:pPr marL="457200" lvl="1" indent="0" algn="r">
              <a:buNone/>
            </a:pPr>
            <a:r>
              <a:rPr lang="en-US" sz="1400" i="1" dirty="0"/>
              <a:t>Transformation of seven day clinical pharmacy services in acute hospitals</a:t>
            </a:r>
            <a:r>
              <a:rPr lang="en-US" sz="1400" dirty="0"/>
              <a:t> </a:t>
            </a:r>
            <a:r>
              <a:rPr lang="en-US" sz="1400" dirty="0" smtClean="0"/>
              <a:t>(</a:t>
            </a:r>
            <a:r>
              <a:rPr lang="en-US" sz="1400" dirty="0"/>
              <a:t>2016): NHS </a:t>
            </a:r>
            <a:r>
              <a:rPr lang="en-US" sz="1400" dirty="0" smtClean="0"/>
              <a:t>England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91131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atient pathway for critical care</a:t>
            </a:r>
            <a:endParaRPr lang="en-GB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4409178"/>
              </p:ext>
            </p:extLst>
          </p:nvPr>
        </p:nvGraphicFramePr>
        <p:xfrm>
          <a:off x="457200" y="1752600"/>
          <a:ext cx="8229600" cy="43735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292240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atient pathway for critical care</a:t>
            </a:r>
            <a:endParaRPr lang="en-GB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19953937"/>
              </p:ext>
            </p:extLst>
          </p:nvPr>
        </p:nvGraphicFramePr>
        <p:xfrm>
          <a:off x="457200" y="1752600"/>
          <a:ext cx="8229600" cy="43735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504727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9GAPAO_k.7nWdM634uiQ"/>
</p:tagLst>
</file>

<file path=ppt/theme/theme1.xml><?xml version="1.0" encoding="utf-8"?>
<a:theme xmlns:a="http://schemas.openxmlformats.org/drawingml/2006/main" name="SWBH">
  <a:themeElements>
    <a:clrScheme name="IV fluids, drugs and calculations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IV fluids, drugs and calculations">
      <a:majorFont>
        <a:latin typeface="Calibri"/>
        <a:ea typeface="MS PGothic"/>
        <a:cs typeface=""/>
      </a:majorFont>
      <a:minorFont>
        <a:latin typeface="Calibri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IV fluids, drugs and calculation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V fluids, drugs and calculation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V fluids, drugs and calculation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V fluids, drugs and calculation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V fluids, drugs and calculation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V fluids, drugs and calculation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V fluids, drugs and calculation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V fluids, drugs and calculation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V fluids, drugs and calculation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V fluids, drugs and calculation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V fluids, drugs and calculation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V fluids, drugs and calculation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WBH</Template>
  <TotalTime>2143</TotalTime>
  <Words>985</Words>
  <Application>Microsoft Macintosh PowerPoint</Application>
  <PresentationFormat>On-screen Show (4:3)</PresentationFormat>
  <Paragraphs>263</Paragraphs>
  <Slides>3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42" baseType="lpstr">
      <vt:lpstr>Calibri</vt:lpstr>
      <vt:lpstr>MS PGothic</vt:lpstr>
      <vt:lpstr>SWBH</vt:lpstr>
      <vt:lpstr>MSPhotoEd.3</vt:lpstr>
      <vt:lpstr>Getting it right first time How does pharmacy help?</vt:lpstr>
      <vt:lpstr>Affiliations/declarations</vt:lpstr>
      <vt:lpstr>Outline</vt:lpstr>
      <vt:lpstr>Some of the current drivers</vt:lpstr>
      <vt:lpstr>HoPMOp</vt:lpstr>
      <vt:lpstr>Medicines optimisation</vt:lpstr>
      <vt:lpstr>7 day services</vt:lpstr>
      <vt:lpstr>Patient pathway for critical care</vt:lpstr>
      <vt:lpstr>Patient pathway for critical care</vt:lpstr>
      <vt:lpstr>Medicines reconciliation </vt:lpstr>
      <vt:lpstr>Review of levothyroxine prescriptions in a tertiary referral unit</vt:lpstr>
      <vt:lpstr>Patient pathway for critical care</vt:lpstr>
      <vt:lpstr>PROTECTED-UK</vt:lpstr>
      <vt:lpstr>PROTECTED-UK</vt:lpstr>
      <vt:lpstr>PROTECTED-UK</vt:lpstr>
      <vt:lpstr>Patient pathway for critical care</vt:lpstr>
      <vt:lpstr>Prescribing</vt:lpstr>
      <vt:lpstr>Patient pathway for critical care</vt:lpstr>
      <vt:lpstr>Standard concentrations for infusions</vt:lpstr>
      <vt:lpstr>Standard concentrations</vt:lpstr>
      <vt:lpstr>Standard concentrations</vt:lpstr>
      <vt:lpstr>Electronic prescribing</vt:lpstr>
      <vt:lpstr>Patient pathway for critical care</vt:lpstr>
      <vt:lpstr>Med Wreck - My own unit</vt:lpstr>
      <vt:lpstr>And longer term…</vt:lpstr>
      <vt:lpstr>Patient pathway for critical care</vt:lpstr>
      <vt:lpstr>Anything else we do to help?</vt:lpstr>
      <vt:lpstr>Support </vt:lpstr>
      <vt:lpstr>Support</vt:lpstr>
      <vt:lpstr>RPS Faculty</vt:lpstr>
      <vt:lpstr>Education</vt:lpstr>
      <vt:lpstr>Band 7 training pack</vt:lpstr>
      <vt:lpstr>Band 7 training pack</vt:lpstr>
      <vt:lpstr>Mcctn.org.uk</vt:lpstr>
      <vt:lpstr>PowerPoint Presentation</vt:lpstr>
      <vt:lpstr>Other Support</vt:lpstr>
      <vt:lpstr>D16 GPICS gap analysis</vt:lpstr>
      <vt:lpstr>Overview </vt:lpstr>
    </vt:vector>
  </TitlesOfParts>
  <Company>Sandwell &amp; West Birmingham Hospitals</Company>
  <LinksUpToDate>false</LinksUpToDate>
  <SharedDoc>false</SharedDoc>
  <HyperlinksChanged>false</HyperlinksChanged>
  <AppVersion>15.0032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n-medical prescribing</dc:title>
  <dc:creator>Graham-Clarke.Emma</dc:creator>
  <cp:lastModifiedBy>Emma Graham-Clarke</cp:lastModifiedBy>
  <cp:revision>110</cp:revision>
  <dcterms:created xsi:type="dcterms:W3CDTF">2017-03-17T16:11:01Z</dcterms:created>
  <dcterms:modified xsi:type="dcterms:W3CDTF">2017-07-04T07:45:52Z</dcterms:modified>
</cp:coreProperties>
</file>